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4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976" r:id="rId5"/>
    <p:sldMasterId id="2147483982" r:id="rId6"/>
    <p:sldMasterId id="2147483993" r:id="rId7"/>
    <p:sldMasterId id="2147484023" r:id="rId8"/>
  </p:sldMasterIdLst>
  <p:notesMasterIdLst>
    <p:notesMasterId r:id="rId18"/>
  </p:notesMasterIdLst>
  <p:handoutMasterIdLst>
    <p:handoutMasterId r:id="rId19"/>
  </p:handoutMasterIdLst>
  <p:sldIdLst>
    <p:sldId id="256" r:id="rId9"/>
    <p:sldId id="383" r:id="rId10"/>
    <p:sldId id="385" r:id="rId11"/>
    <p:sldId id="394" r:id="rId12"/>
    <p:sldId id="389" r:id="rId13"/>
    <p:sldId id="395" r:id="rId14"/>
    <p:sldId id="391" r:id="rId15"/>
    <p:sldId id="387" r:id="rId16"/>
    <p:sldId id="330" r:id="rId17"/>
  </p:sldIdLst>
  <p:sldSz cx="12192000" cy="6858000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structions" id="{EF46FFE9-F5A7-484B-82CA-86EEBFAE4199}">
          <p14:sldIdLst>
            <p14:sldId id="256"/>
            <p14:sldId id="383"/>
            <p14:sldId id="385"/>
            <p14:sldId id="394"/>
            <p14:sldId id="389"/>
            <p14:sldId id="395"/>
            <p14:sldId id="391"/>
            <p14:sldId id="387"/>
            <p14:sldId id="33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E0E0"/>
    <a:srgbClr val="F2F4F1"/>
    <a:srgbClr val="F1F3F1"/>
    <a:srgbClr val="E0E1E0"/>
    <a:srgbClr val="F2F2F2"/>
    <a:srgbClr val="E0E1E1"/>
    <a:srgbClr val="5D6D2A"/>
    <a:srgbClr val="454679"/>
    <a:srgbClr val="545652"/>
    <a:srgbClr val="B5B8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04" autoAdjust="0"/>
    <p:restoredTop sz="93174" autoAdjust="0"/>
  </p:normalViewPr>
  <p:slideViewPr>
    <p:cSldViewPr snapToGrid="0">
      <p:cViewPr varScale="1">
        <p:scale>
          <a:sx n="85" d="100"/>
          <a:sy n="85" d="100"/>
        </p:scale>
        <p:origin x="792" y="7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152" d="100"/>
          <a:sy n="152" d="100"/>
        </p:scale>
        <p:origin x="5064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757F437-34E4-457B-ACAA-C109BC5AD2B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4"/>
            <a:ext cx="3037840" cy="466435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6C9805C-0D4B-456D-9316-F45962E2F55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9" y="4"/>
            <a:ext cx="3037840" cy="466435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6AB91EB8-1FC0-49BA-B8A0-9D4051C7D0E5}" type="datetimeFigureOut">
              <a:rPr lang="en-US" smtClean="0"/>
              <a:t>2/19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170BBA-56B5-4091-9B11-25E05616420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8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017362-806F-4EA8-BAA6-0CA6D364BC8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9" y="8829968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r">
              <a:defRPr sz="1200"/>
            </a:lvl1pPr>
          </a:lstStyle>
          <a:p>
            <a:fld id="{1F6AC5C8-AA3E-49B6-9C0B-3EDF0860F2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118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4"/>
            <a:ext cx="3037840" cy="466435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4"/>
            <a:ext cx="3037840" cy="466435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A2FD89D3-6540-412A-8DF7-24F6B362E6BB}" type="datetimeFigureOut">
              <a:rPr lang="en-US" smtClean="0"/>
              <a:t>2/19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1162050"/>
            <a:ext cx="5578475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6" tIns="46588" rIns="93176" bIns="4658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73893"/>
            <a:ext cx="5608320" cy="3660458"/>
          </a:xfrm>
          <a:prstGeom prst="rect">
            <a:avLst/>
          </a:prstGeom>
        </p:spPr>
        <p:txBody>
          <a:bodyPr vert="horz" lIns="93176" tIns="46588" rIns="93176" bIns="46588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8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r">
              <a:defRPr sz="1200"/>
            </a:lvl1pPr>
          </a:lstStyle>
          <a:p>
            <a:fld id="{53BCCA8E-E054-4945-93F6-8F3E2A7D5A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956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omposit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FED656-A7DB-40B4-B6E9-2D5A83B18E1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9613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no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45A0279-4271-0C4A-A510-EC71BD5BFF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6725" y="342901"/>
            <a:ext cx="11258550" cy="1241425"/>
          </a:xfrm>
        </p:spPr>
        <p:txBody>
          <a:bodyPr tIns="137160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512BBB34-0C92-BB4A-AC27-87BCDA2BE85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6"/>
            <a:ext cx="7416799" cy="1132748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C413C7-A5C3-C440-BEAB-026A4F9049A9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5" y="6261100"/>
            <a:ext cx="3552825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13CE3276-13B5-3E46-B586-9CB90C61E5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9" y="4613275"/>
            <a:ext cx="1070810" cy="566637"/>
          </a:xfrm>
          <a:prstGeom prst="rect">
            <a:avLst/>
          </a:prstGeom>
        </p:spPr>
      </p:pic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9AC084AC-CDBD-B94F-8D6E-9783F92A450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5" y="4460810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</p:spTree>
    <p:extLst>
      <p:ext uri="{BB962C8B-B14F-4D97-AF65-F5344CB8AC3E}">
        <p14:creationId xmlns:p14="http://schemas.microsoft.com/office/powerpoint/2010/main" val="948022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02E4A80-36C5-974E-B2A6-F7DE46DE69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2B33552-D8EC-6241-9A0E-4AF7BBAA6FB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5"/>
            <a:ext cx="7416799" cy="4676775"/>
          </a:xfrm>
        </p:spPr>
        <p:txBody>
          <a:bodyPr tIns="0" rIns="182880" bIns="205740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1pPr>
            <a:lvl2pPr marL="0" indent="-182880">
              <a:buClr>
                <a:schemeClr val="accent1"/>
              </a:buClr>
              <a:buFont typeface="System Font Regular"/>
              <a:buChar char="–"/>
              <a:defRPr sz="1200" b="1">
                <a:solidFill>
                  <a:schemeClr val="accent1"/>
                </a:solidFill>
              </a:defRPr>
            </a:lvl2pPr>
            <a:lvl3pPr marL="0" indent="0">
              <a:buNone/>
              <a:defRPr sz="2400" b="0"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865055-4BFD-D940-B23A-E0A78C8440D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A7EF60-65D6-1A44-A899-D9FF0AD3D2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F0FDACC-34F4-6744-AA11-B2BBBB94BB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47840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199714B-714F-8249-B931-1BFAC99FB0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2B33552-D8EC-6241-9A0E-4AF7BBAA6FB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5"/>
            <a:ext cx="7416799" cy="4676775"/>
          </a:xfrm>
        </p:spPr>
        <p:txBody>
          <a:bodyPr tIns="0" rIns="182880" bIns="205740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1pPr>
            <a:lvl2pPr marL="0" indent="-182880">
              <a:buClr>
                <a:schemeClr val="accent1"/>
              </a:buClr>
              <a:buFont typeface="System Font Regular"/>
              <a:buChar char="–"/>
              <a:defRPr sz="1200" b="1">
                <a:solidFill>
                  <a:schemeClr val="accent1"/>
                </a:solidFill>
              </a:defRPr>
            </a:lvl2pPr>
            <a:lvl3pPr marL="0" indent="0">
              <a:buNone/>
              <a:defRPr sz="2400" b="0"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865055-4BFD-D940-B23A-E0A78C8440D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A7EF60-65D6-1A44-A899-D9FF0AD3D2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F0FDACC-34F4-6744-AA11-B2BBBB94BB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3263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865055-4BFD-D940-B23A-E0A78C8440D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A7EF60-65D6-1A44-A899-D9FF0AD3D2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F0FDACC-34F4-6744-AA11-B2BBBB94BB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0CC5E3-A676-F348-B64F-9A2A12662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1584325"/>
            <a:ext cx="7416799" cy="4676775"/>
          </a:xfrm>
        </p:spPr>
        <p:txBody>
          <a:bodyPr tIns="0" rIns="182880" bIns="1737360" anchor="ctr" anchorCtr="0"/>
          <a:lstStyle>
            <a:lvl1pPr>
              <a:lnSpc>
                <a:spcPct val="100000"/>
              </a:lnSpc>
              <a:defRPr sz="30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00013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865055-4BFD-D940-B23A-E0A78C8440D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A7EF60-65D6-1A44-A899-D9FF0AD3D2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F0FDACC-34F4-6744-AA11-B2BBBB94BB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0CC5E3-A676-F348-B64F-9A2A12662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1584325"/>
            <a:ext cx="7416799" cy="4676775"/>
          </a:xfrm>
        </p:spPr>
        <p:txBody>
          <a:bodyPr tIns="0" rIns="182880" bIns="1737360" anchor="ctr" anchorCtr="0"/>
          <a:lstStyle>
            <a:lvl1pPr>
              <a:lnSpc>
                <a:spcPct val="100000"/>
              </a:lnSpc>
              <a:defRPr sz="3000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05918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5" y="1584324"/>
            <a:ext cx="11258550" cy="4676776"/>
          </a:xfrm>
        </p:spPr>
        <p:txBody>
          <a:bodyPr rIns="1938528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2CD5F2E-8E58-A14B-B80C-9B6594482EB6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13">
            <a:extLst>
              <a:ext uri="{FF2B5EF4-FFF2-40B4-BE49-F238E27FC236}">
                <a16:creationId xmlns:a16="http://schemas.microsoft.com/office/drawing/2014/main" id="{A73E81F0-30EC-604C-95CA-DB8CC6CADA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1117" y="6400970"/>
            <a:ext cx="1070187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</a:defRPr>
            </a:lvl1pPr>
            <a:lvl2pPr marL="0" algn="ctr">
              <a:defRPr sz="800">
                <a:solidFill>
                  <a:schemeClr val="accent1"/>
                </a:solidFill>
              </a:defRPr>
            </a:lvl2pPr>
            <a:lvl3pPr marL="0" algn="ctr">
              <a:defRPr sz="800">
                <a:solidFill>
                  <a:schemeClr val="accent1"/>
                </a:solidFill>
              </a:defRPr>
            </a:lvl3pPr>
            <a:lvl4pPr marL="0" algn="ctr">
              <a:defRPr sz="800">
                <a:solidFill>
                  <a:schemeClr val="accent1"/>
                </a:solidFill>
              </a:defRPr>
            </a:lvl4pPr>
            <a:lvl5pPr marL="0" algn="ctr">
              <a:defRPr sz="800">
                <a:solidFill>
                  <a:schemeClr val="accent1"/>
                </a:solidFill>
              </a:defRPr>
            </a:lvl5pPr>
            <a:lvl6pPr marL="0" algn="ctr">
              <a:defRPr sz="800">
                <a:solidFill>
                  <a:schemeClr val="accent1"/>
                </a:solidFill>
              </a:defRPr>
            </a:lvl6pPr>
            <a:lvl7pPr marL="0" algn="ctr">
              <a:defRPr sz="800">
                <a:solidFill>
                  <a:schemeClr val="accent1"/>
                </a:solidFill>
              </a:defRPr>
            </a:lvl7pPr>
            <a:lvl8pPr marL="0" algn="ctr">
              <a:defRPr sz="800">
                <a:solidFill>
                  <a:schemeClr val="accent1"/>
                </a:solidFill>
              </a:defRPr>
            </a:lvl8pPr>
            <a:lvl9pPr marL="0" algn="ctr">
              <a:defRPr sz="800">
                <a:solidFill>
                  <a:schemeClr val="accent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D35AA9-2F43-3343-BA48-1CA2E63224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130961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5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290614-5015-FC49-9E9D-A9E87844B58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38875" y="1584324"/>
            <a:ext cx="5497513" cy="46767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1C4742D5-3A05-9045-B74A-D3F962B802D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3FE8545-7798-1641-AF94-65B0020EBC8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BB145867-33F4-7942-A468-63972ECBAD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01C0A9-E7F2-E043-948A-B1E2EA474B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A5F8FA7-0E8B-AC4B-9A04-27BD3889EBF9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94206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5" y="1584324"/>
            <a:ext cx="3567113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290614-5015-FC49-9E9D-A9E87844B58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08475" y="1584325"/>
            <a:ext cx="3575049" cy="46767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ADD0FD0-82F6-6249-86EF-808648B0682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72450" y="1584324"/>
            <a:ext cx="3552825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7CAEDB-ABB8-1842-AE19-7725B4CAB22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271D53-83D4-0142-88D2-21B34455C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638CA74-93B7-F445-8D0F-582527E50ADD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33673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5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F22DB92E-0BE0-1049-8105-20C747BD01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38875" y="1584326"/>
            <a:ext cx="5486399" cy="4365212"/>
          </a:xfrm>
          <a:pattFill prst="pct80">
            <a:fgClr>
              <a:schemeClr val="bg1"/>
            </a:fgClr>
            <a:bgClr>
              <a:schemeClr val="bg1">
                <a:lumMod val="75000"/>
              </a:schemeClr>
            </a:bgClr>
          </a:pattFill>
        </p:spPr>
        <p:txBody>
          <a:bodyPr tIns="73152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EE122B8-2BA6-D444-B9FC-8EE2551015AF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62402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5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F22DB92E-0BE0-1049-8105-20C747BD01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38875" y="1584327"/>
            <a:ext cx="5497513" cy="3747695"/>
          </a:xfrm>
          <a:pattFill prst="pct80">
            <a:fgClr>
              <a:schemeClr val="bg1"/>
            </a:fgClr>
            <a:bgClr>
              <a:schemeClr val="bg1">
                <a:lumMod val="75000"/>
              </a:schemeClr>
            </a:bgClr>
          </a:pattFill>
        </p:spPr>
        <p:txBody>
          <a:bodyPr tIns="73152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90FC0A0-8890-FA4A-A265-675F16FD344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38875" y="5332022"/>
            <a:ext cx="5486400" cy="929079"/>
          </a:xfrm>
        </p:spPr>
        <p:txBody>
          <a:bodyPr tIns="137160"/>
          <a:lstStyle>
            <a:lvl1pPr>
              <a:defRPr sz="900" b="1">
                <a:solidFill>
                  <a:schemeClr val="accent1"/>
                </a:solidFill>
              </a:defRPr>
            </a:lvl1pPr>
            <a:lvl2pPr>
              <a:defRPr sz="900"/>
            </a:lvl2pPr>
            <a:lvl3pPr marL="0" indent="0">
              <a:buFontTx/>
              <a:buNone/>
              <a:defRPr sz="900" b="1">
                <a:solidFill>
                  <a:schemeClr val="accent1"/>
                </a:solidFill>
              </a:defRPr>
            </a:lvl3pPr>
            <a:lvl4pPr marL="0" indent="0">
              <a:buFontTx/>
              <a:buNone/>
              <a:defRPr sz="900" b="1">
                <a:solidFill>
                  <a:schemeClr val="accent1"/>
                </a:solidFill>
              </a:defRPr>
            </a:lvl4pPr>
            <a:lvl5pPr marL="0" indent="0">
              <a:buFontTx/>
              <a:buNone/>
              <a:defRPr sz="900" b="1">
                <a:solidFill>
                  <a:schemeClr val="accent1"/>
                </a:solidFill>
              </a:defRPr>
            </a:lvl5pPr>
            <a:lvl6pPr marL="0" indent="0">
              <a:buFontTx/>
              <a:buNone/>
              <a:defRPr sz="900" b="1">
                <a:solidFill>
                  <a:schemeClr val="accent1"/>
                </a:solidFill>
              </a:defRPr>
            </a:lvl6pPr>
            <a:lvl7pPr marL="0" indent="0">
              <a:buFontTx/>
              <a:buNone/>
              <a:defRPr sz="900" b="1">
                <a:solidFill>
                  <a:schemeClr val="accent1"/>
                </a:solidFill>
              </a:defRPr>
            </a:lvl7pPr>
            <a:lvl8pPr marL="0" indent="0">
              <a:buFontTx/>
              <a:buNone/>
              <a:defRPr sz="900" b="1">
                <a:solidFill>
                  <a:schemeClr val="accent1"/>
                </a:solidFill>
              </a:defRPr>
            </a:lvl8pPr>
            <a:lvl9pPr marL="0" indent="0">
              <a:buFontTx/>
              <a:buNone/>
              <a:defRPr sz="9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C830B4-E9C0-1844-9666-E44BDF9B6EF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283AC57-D239-4F44-A373-83E8AF1607A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FD62E05-6DF1-3642-9C7A-C5DD14FBD3A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036FCCE-0ED1-BB45-9AA8-E6ABE533D030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17321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 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5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D9A7A099-8FCD-F248-90AD-8AB09DA1ADC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227764" y="1584326"/>
            <a:ext cx="5497511" cy="4676775"/>
          </a:xfrm>
          <a:pattFill prst="pct10">
            <a:fgClr>
              <a:schemeClr val="tx2"/>
            </a:fgClr>
            <a:bgClr>
              <a:schemeClr val="bg1"/>
            </a:bgClr>
          </a:pattFill>
        </p:spPr>
        <p:txBody>
          <a:bodyPr tIns="2468880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9A68E80-3528-4444-AEBB-C8CCD95AA0D5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9958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9C0B79C-A3F9-B04E-A291-2BBEFCD76F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FE394604-6B48-BE40-8F43-ABC6903C8C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1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4DCEB278-B482-8843-ADD0-D60C8BCA5C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6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5BCF08AF-70EA-BB42-8F2F-4649BC659098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5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A1515E88-BEC8-4F41-84C2-74F5242E3A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9" y="4613275"/>
            <a:ext cx="1070810" cy="566637"/>
          </a:xfrm>
          <a:prstGeom prst="rect">
            <a:avLst/>
          </a:prstGeom>
        </p:spPr>
      </p:pic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B833D77C-FB5C-934E-A308-14E92400D0A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5" y="4460810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</p:spTree>
    <p:extLst>
      <p:ext uri="{BB962C8B-B14F-4D97-AF65-F5344CB8AC3E}">
        <p14:creationId xmlns:p14="http://schemas.microsoft.com/office/powerpoint/2010/main" val="40171947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 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5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E970E05D-6C9C-AA4C-9AC8-08594C5B389D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6227764" y="1584326"/>
            <a:ext cx="5497511" cy="4676775"/>
          </a:xfr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 tIns="251460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AE3CF20-F6A9-EB44-8A9A-5F81C99E3B86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71666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1B0537-97D4-CC49-A76B-634F6A3FB51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325564"/>
            <a:ext cx="12192000" cy="4935537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6517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482960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all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746CC6D-8813-8A49-97BC-3A30C8F416F4}"/>
              </a:ext>
            </a:extLst>
          </p:cNvPr>
          <p:cNvSpPr/>
          <p:nvPr userDrawn="1"/>
        </p:nvSpPr>
        <p:spPr bwMode="auto">
          <a:xfrm>
            <a:off x="0" y="0"/>
            <a:ext cx="12192000" cy="62611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5" y="342900"/>
            <a:ext cx="5486398" cy="723900"/>
          </a:xfrm>
        </p:spPr>
        <p:txBody>
          <a:bodyPr lIns="228600" r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749C57A-40D3-284B-A710-F9DC63E9616B}"/>
              </a:ext>
            </a:extLst>
          </p:cNvPr>
          <p:cNvCxnSpPr>
            <a:cxnSpLocks/>
          </p:cNvCxnSpPr>
          <p:nvPr userDrawn="1"/>
        </p:nvCxnSpPr>
        <p:spPr>
          <a:xfrm>
            <a:off x="6477000" y="1325563"/>
            <a:ext cx="522287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1B0537-97D4-CC49-A76B-634F6A3FB51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6096000" cy="6261100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6517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6032AB2-38D4-BF4A-A7AB-33296B71E4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8875" y="1584326"/>
            <a:ext cx="5486399" cy="4676775"/>
          </a:xfrm>
        </p:spPr>
        <p:txBody>
          <a:bodyPr l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27930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allout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5" y="342900"/>
            <a:ext cx="5486400" cy="723900"/>
          </a:xfrm>
        </p:spPr>
        <p:txBody>
          <a:bodyPr lIns="228600" r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1B0537-97D4-CC49-A76B-634F6A3FB51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6096000" cy="6261100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6517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EE60AE5-24D1-2A42-9958-C863FAF38E3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8876" y="1584326"/>
            <a:ext cx="5486400" cy="4676775"/>
          </a:xfrm>
        </p:spPr>
        <p:txBody>
          <a:bodyPr lIns="2286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9D58D12-4AE4-5F4D-BF23-B8C90DD0DCE1}"/>
              </a:ext>
            </a:extLst>
          </p:cNvPr>
          <p:cNvCxnSpPr>
            <a:cxnSpLocks/>
          </p:cNvCxnSpPr>
          <p:nvPr userDrawn="1"/>
        </p:nvCxnSpPr>
        <p:spPr>
          <a:xfrm>
            <a:off x="6477000" y="1325563"/>
            <a:ext cx="522287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01424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allout_fu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1B0537-97D4-CC49-A76B-634F6A3FB51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12192000" cy="6261100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6517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83525" y="0"/>
            <a:ext cx="4308474" cy="6261100"/>
          </a:xfrm>
          <a:gradFill>
            <a:gsLst>
              <a:gs pos="0">
                <a:schemeClr val="accent1">
                  <a:lumMod val="5000"/>
                  <a:lumOff val="95000"/>
                  <a:alpha val="75000"/>
                </a:schemeClr>
              </a:gs>
              <a:gs pos="47000">
                <a:schemeClr val="accent2">
                  <a:alpha val="75000"/>
                </a:schemeClr>
              </a:gs>
            </a:gsLst>
            <a:lin ang="5400000" scaled="1"/>
          </a:gradFill>
        </p:spPr>
        <p:txBody>
          <a:bodyPr lIns="274320" tIns="0" rIns="0" bIns="0" anchor="ctr" anchorCtr="0"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41271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header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869B8A6-9804-1048-8166-F789E401FDA5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0606F9-E155-FD47-9972-D713684EA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648F83C-B949-F844-9F52-7F6903B94DB8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12771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DF7185A-0E54-EC4B-A2D7-B3EEFA3226D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</p:spTree>
    <p:extLst>
      <p:ext uri="{BB962C8B-B14F-4D97-AF65-F5344CB8AC3E}">
        <p14:creationId xmlns:p14="http://schemas.microsoft.com/office/powerpoint/2010/main" val="19375499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tIns="731520" anchor="ctr" anchorCtr="0"/>
          <a:lstStyle>
            <a:lvl1pPr algn="ctr">
              <a:defRPr sz="2000"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BFA9D9-83F4-B54A-8DDA-F291608040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6725" y="2996830"/>
            <a:ext cx="7416800" cy="3264271"/>
          </a:xfrm>
        </p:spPr>
        <p:txBody>
          <a:bodyPr tIns="0" rIns="0" bIns="0" anchor="ctr" anchorCtr="0"/>
          <a:lstStyle>
            <a:lvl1pPr>
              <a:lnSpc>
                <a:spcPct val="100000"/>
              </a:lnSpc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 message her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6A95F5B4-3F8A-1F44-A10C-9766E32867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9" y="1736791"/>
            <a:ext cx="1070810" cy="566637"/>
          </a:xfrm>
          <a:prstGeom prst="rect">
            <a:avLst/>
          </a:prstGeom>
        </p:spPr>
      </p:pic>
      <p:sp>
        <p:nvSpPr>
          <p:cNvPr id="9" name="Picture Placeholder 16">
            <a:extLst>
              <a:ext uri="{FF2B5EF4-FFF2-40B4-BE49-F238E27FC236}">
                <a16:creationId xmlns:a16="http://schemas.microsoft.com/office/drawing/2014/main" id="{370E9501-642E-B247-9CE6-ED47E59FE28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55295" y="1584326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</p:spTree>
    <p:extLst>
      <p:ext uri="{BB962C8B-B14F-4D97-AF65-F5344CB8AC3E}">
        <p14:creationId xmlns:p14="http://schemas.microsoft.com/office/powerpoint/2010/main" val="37869378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BFA9D9-83F4-B54A-8DDA-F291608040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6725" y="2996830"/>
            <a:ext cx="7416800" cy="3264271"/>
          </a:xfrm>
        </p:spPr>
        <p:txBody>
          <a:bodyPr tIns="0" rIns="0" bIns="0" anchor="ctr" anchorCtr="0"/>
          <a:lstStyle>
            <a:lvl1pPr>
              <a:lnSpc>
                <a:spcPct val="100000"/>
              </a:lnSpc>
              <a:defRPr sz="5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hank you message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68C28C-F47A-FF4E-BCF8-08E371A6F8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1382" y="1736791"/>
            <a:ext cx="1062444" cy="566637"/>
          </a:xfrm>
          <a:prstGeom prst="rect">
            <a:avLst/>
          </a:prstGeom>
        </p:spPr>
      </p:pic>
      <p:sp>
        <p:nvSpPr>
          <p:cNvPr id="12" name="Picture Placeholder 16">
            <a:extLst>
              <a:ext uri="{FF2B5EF4-FFF2-40B4-BE49-F238E27FC236}">
                <a16:creationId xmlns:a16="http://schemas.microsoft.com/office/drawing/2014/main" id="{B7DC1723-F681-A84F-A939-DB2E67510C1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49952" y="1584326"/>
            <a:ext cx="1447281" cy="798455"/>
          </a:xfrm>
          <a:solidFill>
            <a:schemeClr val="accent2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</p:spTree>
    <p:extLst>
      <p:ext uri="{BB962C8B-B14F-4D97-AF65-F5344CB8AC3E}">
        <p14:creationId xmlns:p14="http://schemas.microsoft.com/office/powerpoint/2010/main" val="32917036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201EE337-5CAD-7F45-8CFF-05FD18115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1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21AB9518-D147-5A47-8595-253E98CFC568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5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67B672F3-4C98-9741-A5C7-1695AB1C8D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9" y="4613275"/>
            <a:ext cx="1070810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B219A04-E58A-B541-B284-8463CD450E0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5" y="4460810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5ADCC780-1CA3-CD48-98B5-50009A852B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6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381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877BD3-12DD-4497-808F-7AA326DE14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9C7F27-10D7-45BD-A38E-32317E016B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E58541D-3319-4D3F-8636-A466D57D7D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3225" y="830264"/>
            <a:ext cx="11385506" cy="2769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13FCE8F-C824-47A3-9EA2-B082EC3BCC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296" y="6437327"/>
            <a:ext cx="759444" cy="269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1860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CE7A67-E871-4184-9602-EF6F7C1CAA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3505200"/>
            <a:ext cx="10756702" cy="1651606"/>
          </a:xfrm>
        </p:spPr>
        <p:txBody>
          <a:bodyPr lIns="0" tIns="0" rIns="0" bIns="0" anchor="t"/>
          <a:lstStyle>
            <a:lvl1pPr>
              <a:defRPr sz="3200" b="1"/>
            </a:lvl1pPr>
          </a:lstStyle>
          <a:p>
            <a:r>
              <a:rPr lang="en-US"/>
              <a:t>Title Here</a:t>
            </a:r>
            <a:br>
              <a:rPr lang="en-US"/>
            </a:br>
            <a:r>
              <a:rPr lang="en-US"/>
              <a:t/>
            </a:r>
            <a:br>
              <a:rPr lang="en-US"/>
            </a:br>
            <a:r>
              <a:rPr lang="en-US" sz="1600" b="0"/>
              <a:t>Date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F80A28D-4679-45D8-95D3-304D1A85EAD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D4BC56B-2437-4F51-B124-773EB16F02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2023131"/>
            <a:ext cx="2931826" cy="1041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3659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rgbClr val="8CCA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6988C3-5E91-4196-82FC-A80DF86E9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2967201"/>
            <a:ext cx="11385506" cy="4431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3200" b="1" spc="-14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C0CF1A-2CB3-476B-BD69-4CD40DEE5D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DE850B-3AC7-4AF1-BE2C-AA3DAAAB18E1}"/>
              </a:ext>
            </a:extLst>
          </p:cNvPr>
          <p:cNvSpPr/>
          <p:nvPr userDrawn="1"/>
        </p:nvSpPr>
        <p:spPr>
          <a:xfrm>
            <a:off x="0" y="6297283"/>
            <a:ext cx="1147313" cy="560717"/>
          </a:xfrm>
          <a:prstGeom prst="rect">
            <a:avLst/>
          </a:prstGeom>
          <a:solidFill>
            <a:srgbClr val="8CCA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8204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  <a:prstGeom prst="rect">
            <a:avLst/>
          </a:prstGeo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13632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84"/>
          <p:cNvSpPr txBox="1">
            <a:spLocks noChangeArrowheads="1"/>
          </p:cNvSpPr>
          <p:nvPr userDrawn="1"/>
        </p:nvSpPr>
        <p:spPr bwMode="auto">
          <a:xfrm rot="5400000">
            <a:off x="-1831092" y="2363272"/>
            <a:ext cx="402907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sz="1800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24755" name="Rectangle 179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915206" y="2229816"/>
            <a:ext cx="4974649" cy="1470025"/>
          </a:xfrm>
          <a:ln/>
        </p:spPr>
        <p:txBody>
          <a:bodyPr lIns="91440" tIns="45720" rIns="91440" bIns="45720" anchor="ctr"/>
          <a:lstStyle>
            <a:lvl1pPr>
              <a:defRPr sz="2200" i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13" name="Rectangle 123"/>
          <p:cNvSpPr>
            <a:spLocks noChangeArrowheads="1"/>
          </p:cNvSpPr>
          <p:nvPr userDrawn="1"/>
        </p:nvSpPr>
        <p:spPr bwMode="auto">
          <a:xfrm>
            <a:off x="0" y="0"/>
            <a:ext cx="387048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4" name="Line 125"/>
          <p:cNvSpPr>
            <a:spLocks noChangeShapeType="1"/>
          </p:cNvSpPr>
          <p:nvPr userDrawn="1"/>
        </p:nvSpPr>
        <p:spPr bwMode="auto">
          <a:xfrm>
            <a:off x="0" y="4876800"/>
            <a:ext cx="387048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800" dirty="0"/>
          </a:p>
        </p:txBody>
      </p:sp>
      <p:sp>
        <p:nvSpPr>
          <p:cNvPr id="15" name="Text Box 306"/>
          <p:cNvSpPr txBox="1">
            <a:spLocks noChangeArrowheads="1"/>
          </p:cNvSpPr>
          <p:nvPr userDrawn="1"/>
        </p:nvSpPr>
        <p:spPr bwMode="auto">
          <a:xfrm rot="5400000">
            <a:off x="-1835855" y="2368034"/>
            <a:ext cx="40386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sz="1800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915207" y="4876801"/>
            <a:ext cx="5295699" cy="728663"/>
          </a:xfrm>
        </p:spPr>
        <p:txBody>
          <a:bodyPr/>
          <a:lstStyle>
            <a:lvl1pPr>
              <a:defRPr sz="18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915206" y="3199784"/>
            <a:ext cx="4975175" cy="1014412"/>
          </a:xfrm>
        </p:spPr>
        <p:txBody>
          <a:bodyPr/>
          <a:lstStyle>
            <a:lvl1pPr>
              <a:defRPr sz="22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B36312DA-11EF-4C29-BEC0-82237DF12F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45"/>
          <a:stretch/>
        </p:blipFill>
        <p:spPr>
          <a:xfrm>
            <a:off x="6773334" y="2336412"/>
            <a:ext cx="3580190" cy="1618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3105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46726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60777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84"/>
          <p:cNvSpPr txBox="1">
            <a:spLocks noChangeArrowheads="1"/>
          </p:cNvSpPr>
          <p:nvPr userDrawn="1"/>
        </p:nvSpPr>
        <p:spPr bwMode="auto">
          <a:xfrm rot="5400000">
            <a:off x="-1831092" y="2363272"/>
            <a:ext cx="402907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sz="1800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10" name="Rectangle 3"/>
          <p:cNvSpPr>
            <a:spLocks noChangeArrowheads="1"/>
          </p:cNvSpPr>
          <p:nvPr userDrawn="1"/>
        </p:nvSpPr>
        <p:spPr bwMode="auto">
          <a:xfrm>
            <a:off x="376970" y="3079750"/>
            <a:ext cx="11815030" cy="76993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438457" y="3079750"/>
            <a:ext cx="9315086" cy="769938"/>
          </a:xfrm>
        </p:spPr>
        <p:txBody>
          <a:bodyPr anchor="ctr" anchorCtr="0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ivider</a:t>
            </a:r>
          </a:p>
        </p:txBody>
      </p:sp>
      <p:sp>
        <p:nvSpPr>
          <p:cNvPr id="13" name="Rectangle 123"/>
          <p:cNvSpPr>
            <a:spLocks noChangeArrowheads="1"/>
          </p:cNvSpPr>
          <p:nvPr userDrawn="1"/>
        </p:nvSpPr>
        <p:spPr bwMode="auto">
          <a:xfrm>
            <a:off x="0" y="0"/>
            <a:ext cx="387048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4" name="Line 125"/>
          <p:cNvSpPr>
            <a:spLocks noChangeShapeType="1"/>
          </p:cNvSpPr>
          <p:nvPr userDrawn="1"/>
        </p:nvSpPr>
        <p:spPr bwMode="auto">
          <a:xfrm>
            <a:off x="0" y="4876800"/>
            <a:ext cx="387048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800" dirty="0"/>
          </a:p>
        </p:txBody>
      </p:sp>
      <p:sp>
        <p:nvSpPr>
          <p:cNvPr id="15" name="Text Box 306"/>
          <p:cNvSpPr txBox="1">
            <a:spLocks noChangeArrowheads="1"/>
          </p:cNvSpPr>
          <p:nvPr userDrawn="1"/>
        </p:nvSpPr>
        <p:spPr bwMode="auto">
          <a:xfrm rot="5400000">
            <a:off x="-1835855" y="2368034"/>
            <a:ext cx="40386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sz="1800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</p:spTree>
    <p:extLst>
      <p:ext uri="{BB962C8B-B14F-4D97-AF65-F5344CB8AC3E}">
        <p14:creationId xmlns:p14="http://schemas.microsoft.com/office/powerpoint/2010/main" val="5805240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>
            <p:custDataLst>
              <p:tags r:id="rId1"/>
            </p:custDataLst>
          </p:nvPr>
        </p:nvCxnSpPr>
        <p:spPr bwMode="auto">
          <a:xfrm>
            <a:off x="6579810" y="2053557"/>
            <a:ext cx="5031619" cy="0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/>
          <p:cNvCxnSpPr/>
          <p:nvPr userDrawn="1">
            <p:custDataLst>
              <p:tags r:id="rId2"/>
            </p:custDataLst>
          </p:nvPr>
        </p:nvCxnSpPr>
        <p:spPr bwMode="auto">
          <a:xfrm>
            <a:off x="774095" y="2053557"/>
            <a:ext cx="5031619" cy="0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774095" y="2077620"/>
            <a:ext cx="5031619" cy="358524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579810" y="2077620"/>
            <a:ext cx="5031619" cy="358524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774095" y="1371600"/>
            <a:ext cx="5031619" cy="706438"/>
          </a:xfrm>
        </p:spPr>
        <p:txBody>
          <a:bodyPr anchor="b" anchorCtr="0"/>
          <a:lstStyle>
            <a:lvl1pPr algn="ctr">
              <a:defRPr/>
            </a:lvl1pPr>
          </a:lstStyle>
          <a:p>
            <a:pPr lvl="0"/>
            <a:r>
              <a:rPr lang="en-US" dirty="0"/>
              <a:t>Click to add Header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6579810" y="1371600"/>
            <a:ext cx="5031619" cy="706438"/>
          </a:xfrm>
        </p:spPr>
        <p:txBody>
          <a:bodyPr anchor="b" anchorCtr="0"/>
          <a:lstStyle>
            <a:lvl1pPr algn="ctr">
              <a:defRPr/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314994568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10469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CB4BD5E4-9605-5B45-B53C-3263CBC0E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1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9C8139A2-E7C6-A94E-9243-8058FC270F4D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5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CB79A36A-9F65-D448-A17F-0AA7551AAD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9" y="4613275"/>
            <a:ext cx="1070810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4E5D8EB3-9199-B343-9D35-1520EFCFC74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5" y="4460810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201EFFB7-4B7A-5441-B683-0C4C9AD518E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6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82644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header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0606F9-E155-FD47-9972-D713684EA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79926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_no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45A0279-4271-0C4A-A510-EC71BD5BFF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1" y="0"/>
            <a:ext cx="121793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6725" y="342902"/>
            <a:ext cx="11258550" cy="1241425"/>
          </a:xfrm>
        </p:spPr>
        <p:txBody>
          <a:bodyPr tIns="1371600" bIns="0" anchor="b" anchorCtr="0"/>
          <a:lstStyle>
            <a:lvl1pPr>
              <a:lnSpc>
                <a:spcPts val="3150"/>
              </a:lnSpc>
              <a:defRPr sz="2835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512BBB34-0C92-BB4A-AC27-87BCDA2BE85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6" y="1584326"/>
            <a:ext cx="7416799" cy="1132748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C413C7-A5C3-C440-BEAB-026A4F9049A9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5" y="6261100"/>
            <a:ext cx="3552825" cy="133350"/>
          </a:xfrm>
        </p:spPr>
        <p:txBody>
          <a:bodyPr/>
          <a:lstStyle>
            <a:lvl1pPr algn="l">
              <a:defRPr sz="788">
                <a:solidFill>
                  <a:schemeClr val="bg1"/>
                </a:solidFill>
              </a:defRPr>
            </a:lvl1pPr>
            <a:lvl2pPr algn="l">
              <a:defRPr sz="788">
                <a:solidFill>
                  <a:schemeClr val="bg1"/>
                </a:solidFill>
              </a:defRPr>
            </a:lvl2pPr>
            <a:lvl3pPr algn="l">
              <a:defRPr sz="788">
                <a:solidFill>
                  <a:schemeClr val="bg1"/>
                </a:solidFill>
              </a:defRPr>
            </a:lvl3pPr>
            <a:lvl4pPr algn="l">
              <a:defRPr sz="788">
                <a:solidFill>
                  <a:schemeClr val="bg1"/>
                </a:solidFill>
              </a:defRPr>
            </a:lvl4pPr>
            <a:lvl5pPr algn="l">
              <a:defRPr sz="788">
                <a:solidFill>
                  <a:schemeClr val="bg1"/>
                </a:solidFill>
              </a:defRPr>
            </a:lvl5pPr>
            <a:lvl6pPr algn="l">
              <a:defRPr sz="788">
                <a:solidFill>
                  <a:schemeClr val="bg1"/>
                </a:solidFill>
              </a:defRPr>
            </a:lvl6pPr>
            <a:lvl7pPr algn="l">
              <a:defRPr sz="788">
                <a:solidFill>
                  <a:schemeClr val="bg1"/>
                </a:solidFill>
              </a:defRPr>
            </a:lvl7pPr>
            <a:lvl8pPr algn="l">
              <a:defRPr sz="788">
                <a:solidFill>
                  <a:schemeClr val="bg1"/>
                </a:solidFill>
              </a:defRPr>
            </a:lvl8pPr>
            <a:lvl9pPr algn="l">
              <a:defRPr sz="788">
                <a:solidFill>
                  <a:schemeClr val="bg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13CE3276-13B5-3E46-B586-9CB90C61E5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7"/>
            <a:ext cx="1070810" cy="566637"/>
          </a:xfrm>
          <a:prstGeom prst="rect">
            <a:avLst/>
          </a:prstGeom>
        </p:spPr>
      </p:pic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9AC084AC-CDBD-B94F-8D6E-9783F92A450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5" y="4460812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63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</p:spTree>
    <p:extLst>
      <p:ext uri="{BB962C8B-B14F-4D97-AF65-F5344CB8AC3E}">
        <p14:creationId xmlns:p14="http://schemas.microsoft.com/office/powerpoint/2010/main" val="2303872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1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5" y="1584324"/>
            <a:ext cx="11258550" cy="4676776"/>
          </a:xfrm>
        </p:spPr>
        <p:txBody>
          <a:bodyPr rIns="1938528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2CD5F2E-8E58-A14B-B80C-9B6594482EB6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13">
            <a:extLst>
              <a:ext uri="{FF2B5EF4-FFF2-40B4-BE49-F238E27FC236}">
                <a16:creationId xmlns:a16="http://schemas.microsoft.com/office/drawing/2014/main" id="{A73E81F0-30EC-604C-95CA-DB8CC6CADA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1117" y="6400970"/>
            <a:ext cx="1070187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630">
                <a:solidFill>
                  <a:schemeClr val="accent1"/>
                </a:solidFill>
              </a:defRPr>
            </a:lvl1pPr>
            <a:lvl2pPr marL="0" algn="ctr">
              <a:defRPr sz="630">
                <a:solidFill>
                  <a:schemeClr val="accent1"/>
                </a:solidFill>
              </a:defRPr>
            </a:lvl2pPr>
            <a:lvl3pPr marL="0" algn="ctr">
              <a:defRPr sz="630">
                <a:solidFill>
                  <a:schemeClr val="accent1"/>
                </a:solidFill>
              </a:defRPr>
            </a:lvl3pPr>
            <a:lvl4pPr marL="0" algn="ctr">
              <a:defRPr sz="630">
                <a:solidFill>
                  <a:schemeClr val="accent1"/>
                </a:solidFill>
              </a:defRPr>
            </a:lvl4pPr>
            <a:lvl5pPr marL="0" algn="ctr">
              <a:defRPr sz="630">
                <a:solidFill>
                  <a:schemeClr val="accent1"/>
                </a:solidFill>
              </a:defRPr>
            </a:lvl5pPr>
            <a:lvl6pPr marL="0" algn="ctr">
              <a:defRPr sz="630">
                <a:solidFill>
                  <a:schemeClr val="accent1"/>
                </a:solidFill>
              </a:defRPr>
            </a:lvl6pPr>
            <a:lvl7pPr marL="0" algn="ctr">
              <a:defRPr sz="630">
                <a:solidFill>
                  <a:schemeClr val="accent1"/>
                </a:solidFill>
              </a:defRPr>
            </a:lvl7pPr>
            <a:lvl8pPr marL="0" algn="ctr">
              <a:defRPr sz="630">
                <a:solidFill>
                  <a:schemeClr val="accent1"/>
                </a:solidFill>
              </a:defRPr>
            </a:lvl8pPr>
            <a:lvl9pPr marL="0" algn="ctr">
              <a:defRPr sz="630">
                <a:solidFill>
                  <a:schemeClr val="accent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D35AA9-2F43-3343-BA48-1CA2E63224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73140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no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45A0279-4271-0C4A-A510-EC71BD5BFF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6725" y="342901"/>
            <a:ext cx="11258550" cy="1241425"/>
          </a:xfrm>
        </p:spPr>
        <p:txBody>
          <a:bodyPr tIns="137160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512BBB34-0C92-BB4A-AC27-87BCDA2BE85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6"/>
            <a:ext cx="7416799" cy="1132748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C413C7-A5C3-C440-BEAB-026A4F9049A9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5" y="6261100"/>
            <a:ext cx="3552825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13CE3276-13B5-3E46-B586-9CB90C61E5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5"/>
            <a:ext cx="1070810" cy="566637"/>
          </a:xfrm>
          <a:prstGeom prst="rect">
            <a:avLst/>
          </a:prstGeom>
        </p:spPr>
      </p:pic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9AC084AC-CDBD-B94F-8D6E-9783F92A450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5" y="4460810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</p:spTree>
    <p:extLst>
      <p:ext uri="{BB962C8B-B14F-4D97-AF65-F5344CB8AC3E}">
        <p14:creationId xmlns:p14="http://schemas.microsoft.com/office/powerpoint/2010/main" val="29386981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9C0B79C-A3F9-B04E-A291-2BBEFCD76F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79300" cy="6858000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FE394604-6B48-BE40-8F43-ABC6903C8C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1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4DCEB278-B482-8843-ADD0-D60C8BCA5C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6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Date Placeholder 4">
            <a:extLst>
              <a:ext uri="{FF2B5EF4-FFF2-40B4-BE49-F238E27FC236}">
                <a16:creationId xmlns:a16="http://schemas.microsoft.com/office/drawing/2014/main" id="{5BCF08AF-70EA-BB42-8F2F-4649BC659098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5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A1515E88-BEC8-4F41-84C2-74F5242E3A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5"/>
            <a:ext cx="1070810" cy="566637"/>
          </a:xfrm>
          <a:prstGeom prst="rect">
            <a:avLst/>
          </a:prstGeom>
        </p:spPr>
      </p:pic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B833D77C-FB5C-934E-A308-14E92400D0A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5" y="4460810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</p:spTree>
    <p:extLst>
      <p:ext uri="{BB962C8B-B14F-4D97-AF65-F5344CB8AC3E}">
        <p14:creationId xmlns:p14="http://schemas.microsoft.com/office/powerpoint/2010/main" val="4101601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201EE337-5CAD-7F45-8CFF-05FD18115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1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21AB9518-D147-5A47-8595-253E98CFC568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5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67B672F3-4C98-9741-A5C7-1695AB1C8D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5"/>
            <a:ext cx="1070810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B219A04-E58A-B541-B284-8463CD450E0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5" y="4460810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5ADCC780-1CA3-CD48-98B5-50009A852B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6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86220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CB4BD5E4-9605-5B45-B53C-3263CBC0E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1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9C8139A2-E7C6-A94E-9243-8058FC270F4D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5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CB79A36A-9F65-D448-A17F-0AA7551AAD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5"/>
            <a:ext cx="1070810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4E5D8EB3-9199-B343-9D35-1520EFCFC74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5" y="4460810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201EFFB7-4B7A-5441-B683-0C4C9AD518E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6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240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3A7A0F2C-DFEE-4146-B997-DA062AC3D9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1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BB1652BE-D3FE-3940-8949-9AAEC00A479F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5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BA43257B-5B80-1147-B57D-DE933A790B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5"/>
            <a:ext cx="1070810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C6BA6DFA-F13F-7743-8870-871C9E26E3D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5" y="4460810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D084DC68-6CAE-0B4D-A9F3-56659C53DE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6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19717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6A968E52-F820-D344-901F-F4AA96A1C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1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1EFF02FD-B6E3-214F-B831-0D922293C83E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5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53147DD1-950A-C745-BED5-78B353FFA19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5"/>
            <a:ext cx="1070810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FD4A1A41-135F-D346-955D-AA179792D67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5" y="4460810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2B29B37B-25D1-B143-951D-C4ED385EE5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6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27292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EF42D942-2478-4D47-A32C-F504EF9E6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1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15C4B240-577D-9542-BB55-1143CC10FB0E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5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C9464B15-94F0-8A4C-B350-74686D7542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613275"/>
            <a:ext cx="1070810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2E0B9CD-6DDE-AB44-B006-621591AF807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5" y="4460810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57F9B4B9-63C9-0F4A-9D02-52C4BFD7BB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6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74516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3A7A0F2C-DFEE-4146-B997-DA062AC3D9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1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BB1652BE-D3FE-3940-8949-9AAEC00A479F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5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BA43257B-5B80-1147-B57D-DE933A790B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9" y="4613275"/>
            <a:ext cx="1070810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C6BA6DFA-F13F-7743-8870-871C9E26E3D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5" y="4460810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D084DC68-6CAE-0B4D-A9F3-56659C53DE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6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41706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60ED7FF-B301-DB49-88A6-4CD72677E4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2A6CBF33-95A6-BA4A-9EBE-9DD389BBF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1584325"/>
            <a:ext cx="5497513" cy="3475813"/>
          </a:xfrm>
        </p:spPr>
        <p:txBody>
          <a:bodyPr tIns="0" rIns="0" bIns="1097280" anchor="ctr" anchorCtr="0"/>
          <a:lstStyle>
            <a:lvl1pPr>
              <a:lnSpc>
                <a:spcPts val="4000"/>
              </a:lnSpc>
              <a:defRPr sz="36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72703DA-6F62-9B4A-910F-D77F4BC918C9}"/>
              </a:ext>
            </a:extLst>
          </p:cNvPr>
          <p:cNvSpPr txBox="1"/>
          <p:nvPr userDrawn="1"/>
        </p:nvSpPr>
        <p:spPr>
          <a:xfrm>
            <a:off x="10228984" y="6400970"/>
            <a:ext cx="1496291" cy="208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lvl="0" indent="-4572000" algn="r"/>
            <a:r>
              <a:rPr lang="en-US" sz="800" b="1">
                <a:solidFill>
                  <a:schemeClr val="accent1"/>
                </a:solidFill>
              </a:rPr>
              <a:t>UNC Health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5DF001-212C-4540-80F0-7DA5FC4C18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5A7F43-CEE2-834B-8BDA-E4A6504C9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E38607-C19C-774D-BEF7-493C59161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576421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174749E-3478-0846-8E5D-5A453C217D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2A6CBF33-95A6-BA4A-9EBE-9DD389BBF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1584325"/>
            <a:ext cx="5497513" cy="3475813"/>
          </a:xfrm>
        </p:spPr>
        <p:txBody>
          <a:bodyPr tIns="0" rIns="0" bIns="1097280" anchor="ctr" anchorCtr="0"/>
          <a:lstStyle>
            <a:lvl1pPr>
              <a:lnSpc>
                <a:spcPts val="4000"/>
              </a:lnSpc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DD338B1-A6EB-B747-93D6-CD0C954453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173091-C838-5F47-8B9C-4265A9A72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175CEF-9B03-8847-99BF-1904D1E44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21B976-CB04-C147-BDC7-E24651677804}"/>
              </a:ext>
            </a:extLst>
          </p:cNvPr>
          <p:cNvSpPr txBox="1"/>
          <p:nvPr userDrawn="1"/>
        </p:nvSpPr>
        <p:spPr>
          <a:xfrm>
            <a:off x="10228984" y="6400970"/>
            <a:ext cx="1496291" cy="208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lvl="0" indent="-4572000" algn="r"/>
            <a:r>
              <a:rPr lang="en-US" sz="800" b="1">
                <a:solidFill>
                  <a:schemeClr val="accent1"/>
                </a:solidFill>
              </a:rPr>
              <a:t>UNC Health</a:t>
            </a:r>
          </a:p>
        </p:txBody>
      </p:sp>
    </p:spTree>
    <p:extLst>
      <p:ext uri="{BB962C8B-B14F-4D97-AF65-F5344CB8AC3E}">
        <p14:creationId xmlns:p14="http://schemas.microsoft.com/office/powerpoint/2010/main" val="40847246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02E4A80-36C5-974E-B2A6-F7DE46DE69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2B33552-D8EC-6241-9A0E-4AF7BBAA6FB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5"/>
            <a:ext cx="7416799" cy="4676775"/>
          </a:xfrm>
        </p:spPr>
        <p:txBody>
          <a:bodyPr tIns="0" rIns="182880" bIns="205740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1pPr>
            <a:lvl2pPr marL="0" indent="-182880">
              <a:buClr>
                <a:schemeClr val="accent1"/>
              </a:buClr>
              <a:buFont typeface="System Font Regular"/>
              <a:buChar char="–"/>
              <a:defRPr sz="1200" b="1">
                <a:solidFill>
                  <a:schemeClr val="accent1"/>
                </a:solidFill>
              </a:defRPr>
            </a:lvl2pPr>
            <a:lvl3pPr marL="0" indent="0">
              <a:buNone/>
              <a:defRPr sz="2400" b="0"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865055-4BFD-D940-B23A-E0A78C8440D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A7EF60-65D6-1A44-A899-D9FF0AD3D2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F0FDACC-34F4-6744-AA11-B2BBBB94BB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339916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199714B-714F-8249-B931-1BFAC99FB0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2B33552-D8EC-6241-9A0E-4AF7BBAA6FB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5"/>
            <a:ext cx="7416799" cy="4676775"/>
          </a:xfrm>
        </p:spPr>
        <p:txBody>
          <a:bodyPr tIns="0" rIns="182880" bIns="2057400" anchor="ctr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1pPr>
            <a:lvl2pPr marL="0" indent="-182880">
              <a:buClr>
                <a:schemeClr val="accent1"/>
              </a:buClr>
              <a:buFont typeface="System Font Regular"/>
              <a:buChar char="–"/>
              <a:defRPr sz="1200" b="1">
                <a:solidFill>
                  <a:schemeClr val="accent1"/>
                </a:solidFill>
              </a:defRPr>
            </a:lvl2pPr>
            <a:lvl3pPr marL="0" indent="0">
              <a:buNone/>
              <a:defRPr sz="2400" b="0">
                <a:solidFill>
                  <a:schemeClr val="accent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5pPr>
            <a:lvl6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6pPr>
            <a:lvl7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7pPr>
            <a:lvl8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8pPr>
            <a:lvl9pPr marL="0" indent="0">
              <a:buFont typeface="Arial" panose="020B0604020202020204" pitchFamily="34" charset="0"/>
              <a:buNone/>
              <a:defRPr sz="24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865055-4BFD-D940-B23A-E0A78C8440D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A7EF60-65D6-1A44-A899-D9FF0AD3D2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F0FDACC-34F4-6744-AA11-B2BBBB94BB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8387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865055-4BFD-D940-B23A-E0A78C8440D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A7EF60-65D6-1A44-A899-D9FF0AD3D2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F0FDACC-34F4-6744-AA11-B2BBBB94BB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0CC5E3-A676-F348-B64F-9A2A12662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1584325"/>
            <a:ext cx="7416799" cy="4676775"/>
          </a:xfrm>
        </p:spPr>
        <p:txBody>
          <a:bodyPr tIns="0" rIns="182880" bIns="1737360" anchor="ctr" anchorCtr="0"/>
          <a:lstStyle>
            <a:lvl1pPr>
              <a:lnSpc>
                <a:spcPct val="100000"/>
              </a:lnSpc>
              <a:defRPr sz="30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989736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865055-4BFD-D940-B23A-E0A78C8440D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A7EF60-65D6-1A44-A899-D9FF0AD3D2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F0FDACC-34F4-6744-AA11-B2BBBB94BB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0CC5E3-A676-F348-B64F-9A2A12662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1584325"/>
            <a:ext cx="7416799" cy="4676775"/>
          </a:xfrm>
        </p:spPr>
        <p:txBody>
          <a:bodyPr tIns="0" rIns="182880" bIns="1737360" anchor="ctr" anchorCtr="0"/>
          <a:lstStyle>
            <a:lvl1pPr>
              <a:lnSpc>
                <a:spcPct val="100000"/>
              </a:lnSpc>
              <a:defRPr sz="3000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488106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5" y="1584324"/>
            <a:ext cx="11258550" cy="4676776"/>
          </a:xfrm>
        </p:spPr>
        <p:txBody>
          <a:bodyPr rIns="1938528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2CD5F2E-8E58-A14B-B80C-9B6594482EB6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13">
            <a:extLst>
              <a:ext uri="{FF2B5EF4-FFF2-40B4-BE49-F238E27FC236}">
                <a16:creationId xmlns:a16="http://schemas.microsoft.com/office/drawing/2014/main" id="{A73E81F0-30EC-604C-95CA-DB8CC6CADA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1117" y="6400970"/>
            <a:ext cx="1070187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</a:defRPr>
            </a:lvl1pPr>
            <a:lvl2pPr marL="0" algn="ctr">
              <a:defRPr sz="800">
                <a:solidFill>
                  <a:schemeClr val="accent1"/>
                </a:solidFill>
              </a:defRPr>
            </a:lvl2pPr>
            <a:lvl3pPr marL="0" algn="ctr">
              <a:defRPr sz="800">
                <a:solidFill>
                  <a:schemeClr val="accent1"/>
                </a:solidFill>
              </a:defRPr>
            </a:lvl3pPr>
            <a:lvl4pPr marL="0" algn="ctr">
              <a:defRPr sz="800">
                <a:solidFill>
                  <a:schemeClr val="accent1"/>
                </a:solidFill>
              </a:defRPr>
            </a:lvl4pPr>
            <a:lvl5pPr marL="0" algn="ctr">
              <a:defRPr sz="800">
                <a:solidFill>
                  <a:schemeClr val="accent1"/>
                </a:solidFill>
              </a:defRPr>
            </a:lvl5pPr>
            <a:lvl6pPr marL="0" algn="ctr">
              <a:defRPr sz="800">
                <a:solidFill>
                  <a:schemeClr val="accent1"/>
                </a:solidFill>
              </a:defRPr>
            </a:lvl6pPr>
            <a:lvl7pPr marL="0" algn="ctr">
              <a:defRPr sz="800">
                <a:solidFill>
                  <a:schemeClr val="accent1"/>
                </a:solidFill>
              </a:defRPr>
            </a:lvl7pPr>
            <a:lvl8pPr marL="0" algn="ctr">
              <a:defRPr sz="800">
                <a:solidFill>
                  <a:schemeClr val="accent1"/>
                </a:solidFill>
              </a:defRPr>
            </a:lvl8pPr>
            <a:lvl9pPr marL="0" algn="ctr">
              <a:defRPr sz="800">
                <a:solidFill>
                  <a:schemeClr val="accent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D35AA9-2F43-3343-BA48-1CA2E63224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360451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5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290614-5015-FC49-9E9D-A9E87844B58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38875" y="1584324"/>
            <a:ext cx="5497513" cy="4676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1C4742D5-3A05-9045-B74A-D3F962B802D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3FE8545-7798-1641-AF94-65B0020EBC8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BB145867-33F4-7942-A468-63972ECBAD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01C0A9-E7F2-E043-948A-B1E2EA474B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A5F8FA7-0E8B-AC4B-9A04-27BD3889EBF9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046696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5" y="1584324"/>
            <a:ext cx="3567113" cy="46767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290614-5015-FC49-9E9D-A9E87844B58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08475" y="1584325"/>
            <a:ext cx="3575049" cy="4676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ADD0FD0-82F6-6249-86EF-808648B0682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72450" y="1584324"/>
            <a:ext cx="3552825" cy="46767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7CAEDB-ABB8-1842-AE19-7725B4CAB22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271D53-83D4-0142-88D2-21B34455C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638CA74-93B7-F445-8D0F-582527E50ADD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4784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5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F22DB92E-0BE0-1049-8105-20C747BD01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38875" y="1584326"/>
            <a:ext cx="5486399" cy="4365212"/>
          </a:xfrm>
          <a:pattFill prst="pct80">
            <a:fgClr>
              <a:schemeClr val="bg1"/>
            </a:fgClr>
            <a:bgClr>
              <a:schemeClr val="bg1">
                <a:lumMod val="75000"/>
              </a:schemeClr>
            </a:bgClr>
          </a:pattFill>
        </p:spPr>
        <p:txBody>
          <a:bodyPr tIns="73152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EE122B8-2BA6-D444-B9FC-8EE2551015AF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01879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6A968E52-F820-D344-901F-F4AA96A1C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1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1EFF02FD-B6E3-214F-B831-0D922293C83E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5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53147DD1-950A-C745-BED5-78B353FFA19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9" y="4613275"/>
            <a:ext cx="1070810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FD4A1A41-135F-D346-955D-AA179792D67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5" y="4460810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2B29B37B-25D1-B143-951D-C4ED385EE5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6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7947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5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F22DB92E-0BE0-1049-8105-20C747BD01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38875" y="1584327"/>
            <a:ext cx="5497513" cy="3747695"/>
          </a:xfrm>
          <a:pattFill prst="pct80">
            <a:fgClr>
              <a:schemeClr val="bg1"/>
            </a:fgClr>
            <a:bgClr>
              <a:schemeClr val="bg1">
                <a:lumMod val="75000"/>
              </a:schemeClr>
            </a:bgClr>
          </a:pattFill>
        </p:spPr>
        <p:txBody>
          <a:bodyPr tIns="73152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90FC0A0-8890-FA4A-A265-675F16FD344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38875" y="5332022"/>
            <a:ext cx="5486400" cy="929079"/>
          </a:xfrm>
        </p:spPr>
        <p:txBody>
          <a:bodyPr tIns="137160"/>
          <a:lstStyle>
            <a:lvl1pPr>
              <a:defRPr sz="900" b="1">
                <a:solidFill>
                  <a:schemeClr val="accent1"/>
                </a:solidFill>
              </a:defRPr>
            </a:lvl1pPr>
            <a:lvl2pPr>
              <a:defRPr sz="900"/>
            </a:lvl2pPr>
            <a:lvl3pPr marL="0" indent="0">
              <a:buFontTx/>
              <a:buNone/>
              <a:defRPr sz="900" b="1">
                <a:solidFill>
                  <a:schemeClr val="accent1"/>
                </a:solidFill>
              </a:defRPr>
            </a:lvl3pPr>
            <a:lvl4pPr marL="0" indent="0">
              <a:buFontTx/>
              <a:buNone/>
              <a:defRPr sz="900" b="1">
                <a:solidFill>
                  <a:schemeClr val="accent1"/>
                </a:solidFill>
              </a:defRPr>
            </a:lvl4pPr>
            <a:lvl5pPr marL="0" indent="0">
              <a:buFontTx/>
              <a:buNone/>
              <a:defRPr sz="900" b="1">
                <a:solidFill>
                  <a:schemeClr val="accent1"/>
                </a:solidFill>
              </a:defRPr>
            </a:lvl5pPr>
            <a:lvl6pPr marL="0" indent="0">
              <a:buFontTx/>
              <a:buNone/>
              <a:defRPr sz="900" b="1">
                <a:solidFill>
                  <a:schemeClr val="accent1"/>
                </a:solidFill>
              </a:defRPr>
            </a:lvl6pPr>
            <a:lvl7pPr marL="0" indent="0">
              <a:buFontTx/>
              <a:buNone/>
              <a:defRPr sz="900" b="1">
                <a:solidFill>
                  <a:schemeClr val="accent1"/>
                </a:solidFill>
              </a:defRPr>
            </a:lvl7pPr>
            <a:lvl8pPr marL="0" indent="0">
              <a:buFontTx/>
              <a:buNone/>
              <a:defRPr sz="900" b="1">
                <a:solidFill>
                  <a:schemeClr val="accent1"/>
                </a:solidFill>
              </a:defRPr>
            </a:lvl8pPr>
            <a:lvl9pPr marL="0" indent="0">
              <a:buFontTx/>
              <a:buNone/>
              <a:defRPr sz="9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C830B4-E9C0-1844-9666-E44BDF9B6EF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283AC57-D239-4F44-A373-83E8AF1607A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FD62E05-6DF1-3642-9C7A-C5DD14FBD3A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036FCCE-0ED1-BB45-9AA8-E6ABE533D030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575698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 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5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D9A7A099-8FCD-F248-90AD-8AB09DA1ADC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227764" y="1584326"/>
            <a:ext cx="5497511" cy="4676775"/>
          </a:xfrm>
          <a:pattFill prst="pct10">
            <a:fgClr>
              <a:schemeClr val="tx2"/>
            </a:fgClr>
            <a:bgClr>
              <a:schemeClr val="bg1"/>
            </a:bgClr>
          </a:pattFill>
        </p:spPr>
        <p:txBody>
          <a:bodyPr tIns="2468880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9A68E80-3528-4444-AEBB-C8CCD95AA0D5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371033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col 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6725" y="1584324"/>
            <a:ext cx="5497513" cy="46767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E970E05D-6C9C-AA4C-9AC8-08594C5B389D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6227764" y="1584326"/>
            <a:ext cx="5497511" cy="4676775"/>
          </a:xfr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 tIns="251460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AE3CF20-F6A9-EB44-8A9A-5F81C99E3B86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505351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1B0537-97D4-CC49-A76B-634F6A3FB51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325564"/>
            <a:ext cx="12192000" cy="4935537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6517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4834589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all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746CC6D-8813-8A49-97BC-3A30C8F416F4}"/>
              </a:ext>
            </a:extLst>
          </p:cNvPr>
          <p:cNvSpPr/>
          <p:nvPr userDrawn="1"/>
        </p:nvSpPr>
        <p:spPr bwMode="auto">
          <a:xfrm>
            <a:off x="0" y="0"/>
            <a:ext cx="12192000" cy="62611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18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5" y="342900"/>
            <a:ext cx="5486398" cy="723900"/>
          </a:xfrm>
        </p:spPr>
        <p:txBody>
          <a:bodyPr lIns="228600" r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749C57A-40D3-284B-A710-F9DC63E9616B}"/>
              </a:ext>
            </a:extLst>
          </p:cNvPr>
          <p:cNvCxnSpPr>
            <a:cxnSpLocks/>
          </p:cNvCxnSpPr>
          <p:nvPr userDrawn="1"/>
        </p:nvCxnSpPr>
        <p:spPr>
          <a:xfrm>
            <a:off x="6477000" y="1325563"/>
            <a:ext cx="522287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1B0537-97D4-CC49-A76B-634F6A3FB51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6096000" cy="6261100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6517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6032AB2-38D4-BF4A-A7AB-33296B71E4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8875" y="1584326"/>
            <a:ext cx="5486399" cy="4676775"/>
          </a:xfrm>
        </p:spPr>
        <p:txBody>
          <a:bodyPr l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845529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allout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5" y="342900"/>
            <a:ext cx="5486400" cy="723900"/>
          </a:xfrm>
        </p:spPr>
        <p:txBody>
          <a:bodyPr lIns="228600" r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1B0537-97D4-CC49-A76B-634F6A3FB51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6096000" cy="6261100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6517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EE60AE5-24D1-2A42-9958-C863FAF38E3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8876" y="1584326"/>
            <a:ext cx="5486400" cy="4676775"/>
          </a:xfrm>
        </p:spPr>
        <p:txBody>
          <a:bodyPr lIns="2286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9D58D12-4AE4-5F4D-BF23-B8C90DD0DCE1}"/>
              </a:ext>
            </a:extLst>
          </p:cNvPr>
          <p:cNvCxnSpPr>
            <a:cxnSpLocks/>
          </p:cNvCxnSpPr>
          <p:nvPr userDrawn="1"/>
        </p:nvCxnSpPr>
        <p:spPr>
          <a:xfrm>
            <a:off x="6477000" y="1325563"/>
            <a:ext cx="522287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822187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allout_fu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1B0537-97D4-CC49-A76B-634F6A3FB51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12192000" cy="6261100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6517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83525" y="0"/>
            <a:ext cx="4308474" cy="6261100"/>
          </a:xfrm>
          <a:gradFill>
            <a:gsLst>
              <a:gs pos="0">
                <a:schemeClr val="accent1">
                  <a:lumMod val="5000"/>
                  <a:lumOff val="95000"/>
                  <a:alpha val="75000"/>
                </a:schemeClr>
              </a:gs>
              <a:gs pos="47000">
                <a:schemeClr val="accent2">
                  <a:alpha val="75000"/>
                </a:schemeClr>
              </a:gs>
            </a:gsLst>
            <a:lin ang="5400000" scaled="1"/>
          </a:gradFill>
        </p:spPr>
        <p:txBody>
          <a:bodyPr lIns="274320" tIns="0" rIns="0" bIns="0" anchor="ctr" anchorCtr="0"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95155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header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869B8A6-9804-1048-8166-F789E401FDA5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0606F9-E155-FD47-9972-D713684EA2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648F83C-B949-F844-9F52-7F6903B94DB8}"/>
              </a:ext>
            </a:extLst>
          </p:cNvPr>
          <p:cNvCxnSpPr>
            <a:cxnSpLocks/>
          </p:cNvCxnSpPr>
          <p:nvPr userDrawn="1"/>
        </p:nvCxnSpPr>
        <p:spPr>
          <a:xfrm>
            <a:off x="466725" y="1325563"/>
            <a:ext cx="1125855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369696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‹#›</a:t>
            </a:fld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DF7185A-0E54-EC4B-A2D7-B3EEFA3226D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</p:spTree>
    <p:extLst>
      <p:ext uri="{BB962C8B-B14F-4D97-AF65-F5344CB8AC3E}">
        <p14:creationId xmlns:p14="http://schemas.microsoft.com/office/powerpoint/2010/main" val="317777260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tIns="731520" anchor="ctr" anchorCtr="0"/>
          <a:lstStyle>
            <a:lvl1pPr algn="ctr">
              <a:defRPr sz="2000"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21541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17B4CF-7E5D-2547-AA31-7F6A7B9859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EF42D942-2478-4D47-A32C-F504EF9E6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342901"/>
            <a:ext cx="7416800" cy="1241425"/>
          </a:xfrm>
        </p:spPr>
        <p:txBody>
          <a:bodyPr tIns="1371600" rIns="18288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15C4B240-577D-9542-BB55-1143CC10FB0E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466725" y="6261100"/>
            <a:ext cx="3567113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C9464B15-94F0-8A4C-B350-74686D7542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9" y="4613275"/>
            <a:ext cx="1070810" cy="566637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2E0B9CD-6DDE-AB44-B006-621591AF807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5295" y="4460810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57F9B4B9-63C9-0F4A-9D02-52C4BFD7BB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25" y="1584326"/>
            <a:ext cx="7416800" cy="1108075"/>
          </a:xfrm>
        </p:spPr>
        <p:txBody>
          <a:bodyPr tIns="301752" rIns="18288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77277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BFA9D9-83F4-B54A-8DDA-F291608040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6725" y="2996830"/>
            <a:ext cx="7416800" cy="3264271"/>
          </a:xfrm>
        </p:spPr>
        <p:txBody>
          <a:bodyPr tIns="0" rIns="0" bIns="0" anchor="ctr" anchorCtr="0"/>
          <a:lstStyle>
            <a:lvl1pPr>
              <a:lnSpc>
                <a:spcPct val="100000"/>
              </a:lnSpc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 message her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6A95F5B4-3F8A-1F44-A10C-9766E32867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1736791"/>
            <a:ext cx="1070810" cy="566637"/>
          </a:xfrm>
          <a:prstGeom prst="rect">
            <a:avLst/>
          </a:prstGeom>
        </p:spPr>
      </p:pic>
      <p:sp>
        <p:nvSpPr>
          <p:cNvPr id="9" name="Picture Placeholder 16">
            <a:extLst>
              <a:ext uri="{FF2B5EF4-FFF2-40B4-BE49-F238E27FC236}">
                <a16:creationId xmlns:a16="http://schemas.microsoft.com/office/drawing/2014/main" id="{370E9501-642E-B247-9CE6-ED47E59FE28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55295" y="1584326"/>
            <a:ext cx="1447281" cy="863859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</p:spTree>
    <p:extLst>
      <p:ext uri="{BB962C8B-B14F-4D97-AF65-F5344CB8AC3E}">
        <p14:creationId xmlns:p14="http://schemas.microsoft.com/office/powerpoint/2010/main" val="27192233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BFA9D9-83F4-B54A-8DDA-F291608040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6725" y="2996830"/>
            <a:ext cx="7416800" cy="3264271"/>
          </a:xfrm>
        </p:spPr>
        <p:txBody>
          <a:bodyPr tIns="0" rIns="0" bIns="0" anchor="ctr" anchorCtr="0"/>
          <a:lstStyle>
            <a:lvl1pPr>
              <a:lnSpc>
                <a:spcPct val="100000"/>
              </a:lnSpc>
              <a:defRPr sz="5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hank you message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68C28C-F47A-FF4E-BCF8-08E371A6F8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1382" y="1736791"/>
            <a:ext cx="1062444" cy="566637"/>
          </a:xfrm>
          <a:prstGeom prst="rect">
            <a:avLst/>
          </a:prstGeom>
        </p:spPr>
      </p:pic>
      <p:sp>
        <p:nvSpPr>
          <p:cNvPr id="12" name="Picture Placeholder 16">
            <a:extLst>
              <a:ext uri="{FF2B5EF4-FFF2-40B4-BE49-F238E27FC236}">
                <a16:creationId xmlns:a16="http://schemas.microsoft.com/office/drawing/2014/main" id="{B7DC1723-F681-A84F-A939-DB2E67510C1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49952" y="1584326"/>
            <a:ext cx="1447281" cy="798455"/>
          </a:xfrm>
          <a:solidFill>
            <a:schemeClr val="accent2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sert entity logo </a:t>
            </a:r>
            <a:br>
              <a:rPr lang="en-US" dirty="0"/>
            </a:br>
            <a:r>
              <a:rPr lang="en-US" dirty="0"/>
              <a:t>or delete box for </a:t>
            </a:r>
            <a:br>
              <a:rPr lang="en-US" dirty="0"/>
            </a:br>
            <a:r>
              <a:rPr lang="en-US" dirty="0"/>
              <a:t>default logo</a:t>
            </a:r>
          </a:p>
        </p:txBody>
      </p:sp>
    </p:spTree>
    <p:extLst>
      <p:ext uri="{BB962C8B-B14F-4D97-AF65-F5344CB8AC3E}">
        <p14:creationId xmlns:p14="http://schemas.microsoft.com/office/powerpoint/2010/main" val="2340506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no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45A0279-4271-0C4A-A510-EC71BD5BFF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299712"/>
            <a:ext cx="12192000" cy="7157711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2" y="342902"/>
            <a:ext cx="10972799" cy="1241425"/>
          </a:xfrm>
        </p:spPr>
        <p:txBody>
          <a:bodyPr tIns="1371600" bIns="0" anchor="b" anchorCtr="0"/>
          <a:lstStyle>
            <a:lvl1pPr>
              <a:lnSpc>
                <a:spcPts val="4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512BBB34-0C92-BB4A-AC27-87BCDA2BE85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3" y="1584326"/>
            <a:ext cx="7190317" cy="1550760"/>
          </a:xfrm>
        </p:spPr>
        <p:txBody>
          <a:bodyPr tIns="301752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C413C7-A5C3-C440-BEAB-026A4F9049A9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609601" y="6261100"/>
            <a:ext cx="3409951" cy="133350"/>
          </a:xfrm>
        </p:spPr>
        <p:txBody>
          <a:bodyPr/>
          <a:lstStyle>
            <a:lvl1pPr algn="l">
              <a:defRPr sz="1000">
                <a:solidFill>
                  <a:schemeClr val="bg1"/>
                </a:solidFill>
              </a:defRPr>
            </a:lvl1pPr>
            <a:lvl2pPr algn="l">
              <a:defRPr sz="1000">
                <a:solidFill>
                  <a:schemeClr val="bg1"/>
                </a:solidFill>
              </a:defRPr>
            </a:lvl2pPr>
            <a:lvl3pPr algn="l">
              <a:defRPr sz="1000">
                <a:solidFill>
                  <a:schemeClr val="bg1"/>
                </a:solidFill>
              </a:defRPr>
            </a:lvl3pPr>
            <a:lvl4pPr algn="l">
              <a:defRPr sz="1000">
                <a:solidFill>
                  <a:schemeClr val="bg1"/>
                </a:solidFill>
              </a:defRPr>
            </a:lvl4pPr>
            <a:lvl5pPr algn="l">
              <a:defRPr sz="1000">
                <a:solidFill>
                  <a:schemeClr val="bg1"/>
                </a:solidFill>
              </a:defRPr>
            </a:lvl5pPr>
            <a:lvl6pPr algn="l">
              <a:defRPr sz="1000">
                <a:solidFill>
                  <a:schemeClr val="bg1"/>
                </a:solidFill>
              </a:defRPr>
            </a:lvl6pPr>
            <a:lvl7pPr algn="l">
              <a:defRPr sz="1000">
                <a:solidFill>
                  <a:schemeClr val="bg1"/>
                </a:solidFill>
              </a:defRPr>
            </a:lvl7pPr>
            <a:lvl8pPr algn="l">
              <a:defRPr sz="1000">
                <a:solidFill>
                  <a:schemeClr val="bg1"/>
                </a:solidFill>
              </a:defRPr>
            </a:lvl8pPr>
            <a:lvl9pPr algn="l">
              <a:defRPr sz="1000">
                <a:solidFill>
                  <a:schemeClr val="bg1"/>
                </a:solidFill>
              </a:defRPr>
            </a:lvl9pPr>
          </a:lstStyle>
          <a:p>
            <a:r>
              <a:rPr lang="en-US" smtClean="0"/>
              <a:t>1/26/2021</a:t>
            </a:r>
            <a:endParaRPr lang="en-US" dirty="0"/>
          </a:p>
        </p:txBody>
      </p:sp>
      <p:pic>
        <p:nvPicPr>
          <p:cNvPr id="14" name="Picture 13" descr="A close up of a sign&#10;&#10;Description automatically generated">
            <a:extLst>
              <a:ext uri="{FF2B5EF4-FFF2-40B4-BE49-F238E27FC236}">
                <a16:creationId xmlns:a16="http://schemas.microsoft.com/office/drawing/2014/main" id="{7012197A-6C35-7B49-B22F-CAF3D524634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034" y="4352569"/>
            <a:ext cx="1651442" cy="857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6058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560ED7FF-B301-DB49-88A6-4CD72677E4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2A6CBF33-95A6-BA4A-9EBE-9DD389BBF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84327"/>
            <a:ext cx="7190319" cy="3475813"/>
          </a:xfrm>
        </p:spPr>
        <p:txBody>
          <a:bodyPr tIns="0" rIns="0" bIns="1097280" anchor="ctr" anchorCtr="0"/>
          <a:lstStyle>
            <a:lvl1pPr>
              <a:lnSpc>
                <a:spcPts val="4000"/>
              </a:lnSpc>
              <a:defRPr sz="36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72703DA-6F62-9B4A-910F-D77F4BC918C9}"/>
              </a:ext>
            </a:extLst>
          </p:cNvPr>
          <p:cNvSpPr txBox="1"/>
          <p:nvPr/>
        </p:nvSpPr>
        <p:spPr>
          <a:xfrm>
            <a:off x="10086109" y="6400970"/>
            <a:ext cx="1496291" cy="208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lvl="0" indent="-4572000" algn="r"/>
            <a:r>
              <a:rPr lang="en-US" sz="800" b="1" dirty="0">
                <a:solidFill>
                  <a:schemeClr val="accent1"/>
                </a:solidFill>
              </a:rPr>
              <a:t>UNC Health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5DF001-212C-4540-80F0-7DA5FC4C18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1/26/2021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5A7F43-CEE2-834B-8BDA-E4A6504C9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E38607-C19C-774D-BEF7-493C59161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BD39B7-684D-4423-8BB6-5C8BA622930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94635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9174749E-3478-0846-8E5D-5A453C217D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2A6CBF33-95A6-BA4A-9EBE-9DD389BBF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584327"/>
            <a:ext cx="7190319" cy="3475813"/>
          </a:xfrm>
        </p:spPr>
        <p:txBody>
          <a:bodyPr tIns="0" rIns="0" bIns="1097280" anchor="ctr" anchorCtr="0"/>
          <a:lstStyle>
            <a:lvl1pPr>
              <a:lnSpc>
                <a:spcPts val="4000"/>
              </a:lnSpc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DD338B1-A6EB-B747-93D6-CD0C954453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1/26/2021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173091-C838-5F47-8B9C-4265A9A72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175CEF-9B03-8847-99BF-1904D1E44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BD39B7-684D-4423-8BB6-5C8BA622930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21B976-CB04-C147-BDC7-E24651677804}"/>
              </a:ext>
            </a:extLst>
          </p:cNvPr>
          <p:cNvSpPr txBox="1"/>
          <p:nvPr/>
        </p:nvSpPr>
        <p:spPr>
          <a:xfrm>
            <a:off x="10086109" y="6400970"/>
            <a:ext cx="1496291" cy="208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lvl="0" indent="-4572000" algn="r"/>
            <a:r>
              <a:rPr lang="en-US" sz="800" b="1" dirty="0">
                <a:solidFill>
                  <a:schemeClr val="accent1"/>
                </a:solidFill>
              </a:rPr>
              <a:t>UNC Health</a:t>
            </a:r>
          </a:p>
        </p:txBody>
      </p:sp>
    </p:spTree>
    <p:extLst>
      <p:ext uri="{BB962C8B-B14F-4D97-AF65-F5344CB8AC3E}">
        <p14:creationId xmlns:p14="http://schemas.microsoft.com/office/powerpoint/2010/main" val="361399752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865055-4BFD-D940-B23A-E0A78C8440D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smtClean="0"/>
              <a:t>1/26/2021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A7EF60-65D6-1A44-A899-D9FF0AD3D2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F0FDACC-34F4-6744-AA11-B2BBBB94BB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9BD39B7-684D-4423-8BB6-5C8BA622930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0CC5E3-A676-F348-B64F-9A2A12662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84327"/>
            <a:ext cx="7190317" cy="4676775"/>
          </a:xfrm>
        </p:spPr>
        <p:txBody>
          <a:bodyPr tIns="0" rIns="0" bIns="1737360" anchor="ctr" anchorCtr="0"/>
          <a:lstStyle>
            <a:lvl1pPr>
              <a:lnSpc>
                <a:spcPct val="100000"/>
              </a:lnSpc>
              <a:defRPr sz="30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643638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865055-4BFD-D940-B23A-E0A78C8440D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smtClean="0"/>
              <a:t>1/26/2021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A7EF60-65D6-1A44-A899-D9FF0AD3D2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F0FDACC-34F4-6744-AA11-B2BBBB94BB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9BD39B7-684D-4423-8BB6-5C8BA622930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0CC5E3-A676-F348-B64F-9A2A12662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84327"/>
            <a:ext cx="7190317" cy="4676775"/>
          </a:xfrm>
        </p:spPr>
        <p:txBody>
          <a:bodyPr tIns="0" rIns="0" bIns="1737360" anchor="ctr" anchorCtr="0"/>
          <a:lstStyle>
            <a:lvl1pPr>
              <a:lnSpc>
                <a:spcPct val="100000"/>
              </a:lnSpc>
              <a:defRPr sz="3000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911454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34700-F4A7-F34F-A23C-0C066A95CB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342900"/>
            <a:ext cx="10972799" cy="723900"/>
          </a:xfrm>
        </p:spPr>
        <p:txBody>
          <a:bodyPr tIns="914400" bIns="0" anchor="b" anchorCtr="0"/>
          <a:lstStyle>
            <a:lvl1pPr>
              <a:defRPr sz="30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124A59C-4214-BC45-BE24-A83D937AD8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3" y="1584328"/>
            <a:ext cx="10972799" cy="4676775"/>
          </a:xfrm>
        </p:spPr>
        <p:txBody>
          <a:bodyPr/>
          <a:lstStyle>
            <a:lvl1pPr marL="347472" indent="-342900">
              <a:lnSpc>
                <a:spcPct val="99000"/>
              </a:lnSpc>
              <a:buClr>
                <a:schemeClr val="accent1"/>
              </a:buClr>
              <a:buFont typeface="+mj-lt"/>
              <a:buAutoNum type="arabicPeriod"/>
              <a:defRPr sz="1800" b="0">
                <a:solidFill>
                  <a:schemeClr val="accent1"/>
                </a:solidFill>
              </a:defRPr>
            </a:lvl1pPr>
            <a:lvl2pPr marL="0" indent="-342900" defTabSz="292608">
              <a:lnSpc>
                <a:spcPct val="99000"/>
              </a:lnSpc>
              <a:buClr>
                <a:schemeClr val="accent1"/>
              </a:buClr>
              <a:buFont typeface="+mj-lt"/>
              <a:buAutoNum type="arabicPeriod"/>
              <a:tabLst>
                <a:tab pos="292608" algn="l"/>
                <a:tab pos="585216" algn="l"/>
              </a:tabLst>
              <a:defRPr sz="1800" b="0">
                <a:solidFill>
                  <a:schemeClr val="accent1"/>
                </a:solidFill>
              </a:defRPr>
            </a:lvl2pPr>
            <a:lvl3pPr marL="0" indent="-342900">
              <a:lnSpc>
                <a:spcPct val="99000"/>
              </a:lnSpc>
              <a:buClr>
                <a:schemeClr val="accent1"/>
              </a:buClr>
              <a:buFont typeface="+mj-lt"/>
              <a:buAutoNum type="arabicPeriod"/>
              <a:defRPr sz="1800" b="0">
                <a:solidFill>
                  <a:schemeClr val="accent1"/>
                </a:solidFill>
              </a:defRPr>
            </a:lvl3pPr>
            <a:lvl4pPr marL="0" indent="-342900">
              <a:lnSpc>
                <a:spcPct val="99000"/>
              </a:lnSpc>
              <a:buClr>
                <a:schemeClr val="accent1"/>
              </a:buClr>
              <a:buSzPct val="100000"/>
              <a:buFont typeface="+mj-lt"/>
              <a:buAutoNum type="arabicPeriod"/>
              <a:defRPr sz="1800" b="0">
                <a:solidFill>
                  <a:schemeClr val="accent1"/>
                </a:solidFill>
              </a:defRPr>
            </a:lvl4pPr>
            <a:lvl5pPr marL="0" indent="-342900">
              <a:lnSpc>
                <a:spcPct val="99000"/>
              </a:lnSpc>
              <a:buClr>
                <a:schemeClr val="accent1"/>
              </a:buClr>
              <a:buSzPct val="100000"/>
              <a:buFont typeface="+mj-lt"/>
              <a:buAutoNum type="arabicPeriod"/>
              <a:defRPr sz="1800" b="0">
                <a:solidFill>
                  <a:schemeClr val="accent1"/>
                </a:solidFill>
              </a:defRPr>
            </a:lvl5pPr>
            <a:lvl6pPr marL="0" indent="-342900">
              <a:lnSpc>
                <a:spcPct val="99000"/>
              </a:lnSpc>
              <a:buClr>
                <a:schemeClr val="accent1"/>
              </a:buClr>
              <a:buSzPct val="100000"/>
              <a:buFont typeface="+mj-lt"/>
              <a:buAutoNum type="arabicPeriod"/>
              <a:defRPr sz="1800" b="0">
                <a:solidFill>
                  <a:schemeClr val="accent1"/>
                </a:solidFill>
              </a:defRPr>
            </a:lvl6pPr>
            <a:lvl7pPr marL="0" indent="-342900">
              <a:lnSpc>
                <a:spcPct val="99000"/>
              </a:lnSpc>
              <a:buClr>
                <a:schemeClr val="accent1"/>
              </a:buClr>
              <a:buSzPct val="100000"/>
              <a:buFont typeface="+mj-lt"/>
              <a:buAutoNum type="arabicPeriod"/>
              <a:defRPr sz="1800" b="0">
                <a:solidFill>
                  <a:schemeClr val="accent1"/>
                </a:solidFill>
              </a:defRPr>
            </a:lvl7pPr>
            <a:lvl8pPr marL="0" indent="-342900">
              <a:lnSpc>
                <a:spcPct val="99000"/>
              </a:lnSpc>
              <a:buClr>
                <a:schemeClr val="accent1"/>
              </a:buClr>
              <a:buSzPct val="100000"/>
              <a:buFont typeface="+mj-lt"/>
              <a:buAutoNum type="arabicPeriod"/>
              <a:defRPr sz="1800" b="0">
                <a:solidFill>
                  <a:schemeClr val="accent1"/>
                </a:solidFill>
              </a:defRPr>
            </a:lvl8pPr>
            <a:lvl9pPr marL="0" indent="-342900">
              <a:lnSpc>
                <a:spcPct val="99000"/>
              </a:lnSpc>
              <a:buClr>
                <a:schemeClr val="accent1"/>
              </a:buClr>
              <a:buSzPct val="100000"/>
              <a:buFont typeface="+mj-lt"/>
              <a:buAutoNum type="arabicPeriod"/>
              <a:defRPr sz="18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81496EB-8D97-3E4F-8DC3-4335EEECEA1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smtClean="0"/>
              <a:t>1/26/2021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6C0F40B-3978-F243-90D1-7C4023761C8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6AB1F8E-810C-BD44-BE5F-27303BEDE9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9BD39B7-684D-4423-8BB6-5C8BA622930A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90729CB-939B-6144-BEC4-603CD8E62058}"/>
              </a:ext>
            </a:extLst>
          </p:cNvPr>
          <p:cNvCxnSpPr/>
          <p:nvPr/>
        </p:nvCxnSpPr>
        <p:spPr>
          <a:xfrm>
            <a:off x="609600" y="1325563"/>
            <a:ext cx="109728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921651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1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9BD39B7-684D-4423-8BB6-5C8BA622930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09599" y="1584324"/>
            <a:ext cx="10972800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A75E391-5DF6-8A45-9113-02BCED977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342900"/>
            <a:ext cx="10972800" cy="7239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2CD5F2E-8E58-A14B-B80C-9B6594482EB6}"/>
              </a:ext>
            </a:extLst>
          </p:cNvPr>
          <p:cNvCxnSpPr/>
          <p:nvPr/>
        </p:nvCxnSpPr>
        <p:spPr>
          <a:xfrm>
            <a:off x="550817" y="1142683"/>
            <a:ext cx="109728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13">
            <a:extLst>
              <a:ext uri="{FF2B5EF4-FFF2-40B4-BE49-F238E27FC236}">
                <a16:creationId xmlns:a16="http://schemas.microsoft.com/office/drawing/2014/main" id="{A73E81F0-30EC-604C-95CA-DB8CC6CADA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3993" y="6400970"/>
            <a:ext cx="1070187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</a:defRPr>
            </a:lvl1pPr>
            <a:lvl2pPr marL="0" algn="ctr">
              <a:defRPr sz="800">
                <a:solidFill>
                  <a:schemeClr val="accent1"/>
                </a:solidFill>
              </a:defRPr>
            </a:lvl2pPr>
            <a:lvl3pPr marL="0" algn="ctr">
              <a:defRPr sz="800">
                <a:solidFill>
                  <a:schemeClr val="accent1"/>
                </a:solidFill>
              </a:defRPr>
            </a:lvl3pPr>
            <a:lvl4pPr marL="0" algn="ctr">
              <a:defRPr sz="800">
                <a:solidFill>
                  <a:schemeClr val="accent1"/>
                </a:solidFill>
              </a:defRPr>
            </a:lvl4pPr>
            <a:lvl5pPr marL="0" algn="ctr">
              <a:defRPr sz="800">
                <a:solidFill>
                  <a:schemeClr val="accent1"/>
                </a:solidFill>
              </a:defRPr>
            </a:lvl5pPr>
            <a:lvl6pPr marL="0" algn="ctr">
              <a:defRPr sz="800">
                <a:solidFill>
                  <a:schemeClr val="accent1"/>
                </a:solidFill>
              </a:defRPr>
            </a:lvl6pPr>
            <a:lvl7pPr marL="0" algn="ctr">
              <a:defRPr sz="800">
                <a:solidFill>
                  <a:schemeClr val="accent1"/>
                </a:solidFill>
              </a:defRPr>
            </a:lvl7pPr>
            <a:lvl8pPr marL="0" algn="ctr">
              <a:defRPr sz="800">
                <a:solidFill>
                  <a:schemeClr val="accent1"/>
                </a:solidFill>
              </a:defRPr>
            </a:lvl8pPr>
            <a:lvl9pPr marL="0" algn="ctr">
              <a:defRPr sz="800">
                <a:solidFill>
                  <a:schemeClr val="accent1"/>
                </a:solidFill>
              </a:defRPr>
            </a:lvl9pPr>
          </a:lstStyle>
          <a:p>
            <a:r>
              <a:rPr lang="en-US" smtClean="0"/>
              <a:t>1/26/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941945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09600" y="1584324"/>
            <a:ext cx="5293784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290614-5015-FC49-9E9D-A9E87844B58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94969" y="1584326"/>
            <a:ext cx="5287433" cy="46767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FCF24DE-84A8-7A48-9A78-60AE355239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342900"/>
            <a:ext cx="10972801" cy="7239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1C4742D5-3A05-9045-B74A-D3F962B802D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1/26/2021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3FE8545-7798-1641-AF94-65B0020EBC8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BB145867-33F4-7942-A468-63972ECBAD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9BD39B7-684D-4423-8BB6-5C8BA622930A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5107BC0-417D-C644-BE0C-0C6F14AE94F2}"/>
              </a:ext>
            </a:extLst>
          </p:cNvPr>
          <p:cNvCxnSpPr/>
          <p:nvPr/>
        </p:nvCxnSpPr>
        <p:spPr>
          <a:xfrm>
            <a:off x="609600" y="1325563"/>
            <a:ext cx="109728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39081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60ED7FF-B301-DB49-88A6-4CD72677E4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2A6CBF33-95A6-BA4A-9EBE-9DD389BBF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1584325"/>
            <a:ext cx="5497513" cy="3475813"/>
          </a:xfrm>
        </p:spPr>
        <p:txBody>
          <a:bodyPr tIns="0" rIns="0" bIns="1097280" anchor="ctr" anchorCtr="0"/>
          <a:lstStyle>
            <a:lvl1pPr>
              <a:lnSpc>
                <a:spcPts val="4000"/>
              </a:lnSpc>
              <a:defRPr sz="36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72703DA-6F62-9B4A-910F-D77F4BC918C9}"/>
              </a:ext>
            </a:extLst>
          </p:cNvPr>
          <p:cNvSpPr txBox="1"/>
          <p:nvPr userDrawn="1"/>
        </p:nvSpPr>
        <p:spPr>
          <a:xfrm>
            <a:off x="10228984" y="6400970"/>
            <a:ext cx="1496291" cy="208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lvl="0" indent="-4572000" algn="r"/>
            <a:r>
              <a:rPr lang="en-US" sz="800" b="1">
                <a:solidFill>
                  <a:schemeClr val="accent1"/>
                </a:solidFill>
              </a:rPr>
              <a:t>UNC Health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5DF001-212C-4540-80F0-7DA5FC4C18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5A7F43-CEE2-834B-8BDA-E4A6504C9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E38607-C19C-774D-BEF7-493C59161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89136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9BD39B7-684D-4423-8BB6-5C8BA622930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09602" y="1584324"/>
            <a:ext cx="3412065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290614-5015-FC49-9E9D-A9E87844B58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92085" y="1584327"/>
            <a:ext cx="3407835" cy="46767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ADD0FD0-82F6-6249-86EF-808648B0682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72451" y="1584324"/>
            <a:ext cx="3409951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7CAEDB-ABB8-1842-AE19-7725B4CAB22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1/26/2021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7179FC8-F3CD-6145-AC85-15F1B43C99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342900"/>
            <a:ext cx="10972801" cy="7239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2876C4-1E46-7743-A870-A05FA1367C3F}"/>
              </a:ext>
            </a:extLst>
          </p:cNvPr>
          <p:cNvCxnSpPr/>
          <p:nvPr/>
        </p:nvCxnSpPr>
        <p:spPr>
          <a:xfrm>
            <a:off x="609600" y="1325563"/>
            <a:ext cx="109728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941889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co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9BD39B7-684D-4423-8BB6-5C8BA622930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09600" y="1584324"/>
            <a:ext cx="5293784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F22DB92E-0BE0-1049-8105-20C747BD01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94969" y="1584326"/>
            <a:ext cx="5287433" cy="4365212"/>
          </a:xfrm>
          <a:pattFill prst="pct80">
            <a:fgClr>
              <a:schemeClr val="bg1"/>
            </a:fgClr>
            <a:bgClr>
              <a:schemeClr val="bg1">
                <a:lumMod val="75000"/>
              </a:schemeClr>
            </a:bgClr>
          </a:pattFill>
        </p:spPr>
        <p:txBody>
          <a:bodyPr tIns="731520"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 smtClean="0"/>
              <a:t>1/26/2021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10F3544-2CD2-DA4B-891B-1BF196A50704}"/>
              </a:ext>
            </a:extLst>
          </p:cNvPr>
          <p:cNvCxnSpPr/>
          <p:nvPr/>
        </p:nvCxnSpPr>
        <p:spPr>
          <a:xfrm>
            <a:off x="609600" y="1325563"/>
            <a:ext cx="109728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666394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col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9BD39B7-684D-4423-8BB6-5C8BA622930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09600" y="1584324"/>
            <a:ext cx="5293784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F22DB92E-0BE0-1049-8105-20C747BD01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94969" y="1584329"/>
            <a:ext cx="5287433" cy="3747695"/>
          </a:xfrm>
          <a:pattFill prst="pct80">
            <a:fgClr>
              <a:schemeClr val="bg1"/>
            </a:fgClr>
            <a:bgClr>
              <a:schemeClr val="bg1">
                <a:lumMod val="75000"/>
              </a:schemeClr>
            </a:bgClr>
          </a:pattFill>
        </p:spPr>
        <p:txBody>
          <a:bodyPr tIns="731520"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 smtClean="0"/>
              <a:t>1/26/2021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90FC0A0-8890-FA4A-A265-675F16FD344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94969" y="5332024"/>
            <a:ext cx="5287433" cy="929079"/>
          </a:xfrm>
        </p:spPr>
        <p:txBody>
          <a:bodyPr tIns="137160"/>
          <a:lstStyle>
            <a:lvl1pPr>
              <a:defRPr sz="900" b="1">
                <a:solidFill>
                  <a:schemeClr val="accent1"/>
                </a:solidFill>
              </a:defRPr>
            </a:lvl1pPr>
            <a:lvl2pPr>
              <a:defRPr sz="900"/>
            </a:lvl2pPr>
            <a:lvl3pPr marL="0" indent="0">
              <a:buFontTx/>
              <a:buNone/>
              <a:defRPr sz="900" b="1">
                <a:solidFill>
                  <a:schemeClr val="accent1"/>
                </a:solidFill>
              </a:defRPr>
            </a:lvl3pPr>
            <a:lvl4pPr marL="0" indent="0">
              <a:buFontTx/>
              <a:buNone/>
              <a:defRPr sz="900" b="1">
                <a:solidFill>
                  <a:schemeClr val="accent1"/>
                </a:solidFill>
              </a:defRPr>
            </a:lvl4pPr>
            <a:lvl5pPr marL="0" indent="0">
              <a:buFontTx/>
              <a:buNone/>
              <a:defRPr sz="900" b="1">
                <a:solidFill>
                  <a:schemeClr val="accent1"/>
                </a:solidFill>
              </a:defRPr>
            </a:lvl5pPr>
            <a:lvl6pPr marL="0" indent="0">
              <a:buFontTx/>
              <a:buNone/>
              <a:defRPr sz="900" b="1">
                <a:solidFill>
                  <a:schemeClr val="accent1"/>
                </a:solidFill>
              </a:defRPr>
            </a:lvl6pPr>
            <a:lvl7pPr marL="0" indent="0">
              <a:buFontTx/>
              <a:buNone/>
              <a:defRPr sz="900" b="1">
                <a:solidFill>
                  <a:schemeClr val="accent1"/>
                </a:solidFill>
              </a:defRPr>
            </a:lvl7pPr>
            <a:lvl8pPr marL="0" indent="0">
              <a:buFontTx/>
              <a:buNone/>
              <a:defRPr sz="900" b="1">
                <a:solidFill>
                  <a:schemeClr val="accent1"/>
                </a:solidFill>
              </a:defRPr>
            </a:lvl8pPr>
            <a:lvl9pPr marL="0" indent="0">
              <a:buFontTx/>
              <a:buNone/>
              <a:defRPr sz="9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749C57A-40D3-284B-A710-F9DC63E9616B}"/>
              </a:ext>
            </a:extLst>
          </p:cNvPr>
          <p:cNvCxnSpPr/>
          <p:nvPr/>
        </p:nvCxnSpPr>
        <p:spPr>
          <a:xfrm>
            <a:off x="609600" y="1325563"/>
            <a:ext cx="109728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929440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col 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9BD39B7-684D-4423-8BB6-5C8BA622930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09600" y="1584324"/>
            <a:ext cx="5293784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 smtClean="0"/>
              <a:t>1/26/2021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749C57A-40D3-284B-A710-F9DC63E9616B}"/>
              </a:ext>
            </a:extLst>
          </p:cNvPr>
          <p:cNvCxnSpPr/>
          <p:nvPr/>
        </p:nvCxnSpPr>
        <p:spPr>
          <a:xfrm>
            <a:off x="609600" y="1325563"/>
            <a:ext cx="109728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D9A7A099-8FCD-F248-90AD-8AB09DA1ADC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294969" y="1584328"/>
            <a:ext cx="5287433" cy="4676775"/>
          </a:xfrm>
          <a:pattFill prst="pct10">
            <a:fgClr>
              <a:schemeClr val="tx2"/>
            </a:fgClr>
            <a:bgClr>
              <a:schemeClr val="bg1"/>
            </a:bgClr>
          </a:pattFill>
        </p:spPr>
        <p:txBody>
          <a:bodyPr tIns="2468880"/>
          <a:lstStyle>
            <a:lvl1pPr algn="ctr">
              <a:defRPr/>
            </a:lvl1pPr>
          </a:lstStyle>
          <a:p>
            <a:r>
              <a:rPr lang="en-US" dirty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194128705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col 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9BD39B7-684D-4423-8BB6-5C8BA622930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1915052-D43B-2341-9EEF-BF86700831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09600" y="1584324"/>
            <a:ext cx="5293784" cy="46767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 smtClean="0"/>
              <a:t>1/26/2021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749C57A-40D3-284B-A710-F9DC63E9616B}"/>
              </a:ext>
            </a:extLst>
          </p:cNvPr>
          <p:cNvCxnSpPr/>
          <p:nvPr/>
        </p:nvCxnSpPr>
        <p:spPr>
          <a:xfrm>
            <a:off x="609600" y="1325563"/>
            <a:ext cx="109728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E970E05D-6C9C-AA4C-9AC8-08594C5B389D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6294969" y="1584328"/>
            <a:ext cx="5287433" cy="4676775"/>
          </a:xfr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 tIns="2514600"/>
          <a:lstStyle>
            <a:lvl1pPr algn="ctr">
              <a:defRPr/>
            </a:lvl1pPr>
          </a:lstStyle>
          <a:p>
            <a:r>
              <a:rPr lang="en-US" dirty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86244167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9BD39B7-684D-4423-8BB6-5C8BA622930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 smtClean="0"/>
              <a:t>1/26/2021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1B0537-97D4-CC49-A76B-634F6A3FB51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325566"/>
            <a:ext cx="12192000" cy="4935537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651760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8376453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call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746CC6D-8813-8A49-97BC-3A30C8F416F4}"/>
              </a:ext>
            </a:extLst>
          </p:cNvPr>
          <p:cNvSpPr/>
          <p:nvPr/>
        </p:nvSpPr>
        <p:spPr bwMode="auto">
          <a:xfrm>
            <a:off x="0" y="0"/>
            <a:ext cx="12192000" cy="62611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rtlCol="0" anchor="ctr"/>
          <a:lstStyle/>
          <a:p>
            <a:pPr algn="ctr"/>
            <a:endParaRPr lang="en-US" sz="18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9BD39B7-684D-4423-8BB6-5C8BA622930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4967" y="342900"/>
            <a:ext cx="5287432" cy="723900"/>
          </a:xfrm>
        </p:spPr>
        <p:txBody>
          <a:bodyPr lIns="228600" r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 smtClean="0"/>
              <a:t>1/26/2021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749C57A-40D3-284B-A710-F9DC63E9616B}"/>
              </a:ext>
            </a:extLst>
          </p:cNvPr>
          <p:cNvCxnSpPr>
            <a:cxnSpLocks/>
          </p:cNvCxnSpPr>
          <p:nvPr/>
        </p:nvCxnSpPr>
        <p:spPr>
          <a:xfrm>
            <a:off x="6602437" y="1325563"/>
            <a:ext cx="4979963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1B0537-97D4-CC49-A76B-634F6A3FB51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6096000" cy="6261100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651760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6032AB2-38D4-BF4A-A7AB-33296B71E4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94969" y="1584328"/>
            <a:ext cx="5287433" cy="4676775"/>
          </a:xfrm>
        </p:spPr>
        <p:txBody>
          <a:bodyPr l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2559057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callout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9BD39B7-684D-4423-8BB6-5C8BA622930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4967" y="342900"/>
            <a:ext cx="5287432" cy="723900"/>
          </a:xfrm>
        </p:spPr>
        <p:txBody>
          <a:bodyPr lIns="228600" r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 smtClean="0"/>
              <a:t>1/26/2021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749C57A-40D3-284B-A710-F9DC63E9616B}"/>
              </a:ext>
            </a:extLst>
          </p:cNvPr>
          <p:cNvCxnSpPr>
            <a:cxnSpLocks/>
          </p:cNvCxnSpPr>
          <p:nvPr/>
        </p:nvCxnSpPr>
        <p:spPr>
          <a:xfrm>
            <a:off x="6602437" y="1325563"/>
            <a:ext cx="4979963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1B0537-97D4-CC49-A76B-634F6A3FB51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6096000" cy="6261100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651760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EE60AE5-24D1-2A42-9958-C863FAF38E3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94969" y="1584328"/>
            <a:ext cx="5287433" cy="4676775"/>
          </a:xfrm>
        </p:spPr>
        <p:txBody>
          <a:bodyPr lIns="22860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366653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callout_fu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9BD39B7-684D-4423-8BB6-5C8BA622930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758BB88-1D88-A945-9F87-457DB1E0299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 smtClean="0"/>
              <a:t>1/26/2021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31B0537-97D4-CC49-A76B-634F6A3FB51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12192000" cy="6261100"/>
          </a:xfrm>
          <a:pattFill prst="pct20">
            <a:fgClr>
              <a:schemeClr val="tx2"/>
            </a:fgClr>
            <a:bgClr>
              <a:schemeClr val="bg1"/>
            </a:bgClr>
          </a:pattFill>
        </p:spPr>
        <p:txBody>
          <a:bodyPr tIns="2651760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F20306-76C8-3F45-B94F-CF2A1C22C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99920" y="0"/>
            <a:ext cx="4392081" cy="6261100"/>
          </a:xfrm>
          <a:gradFill>
            <a:gsLst>
              <a:gs pos="0">
                <a:schemeClr val="accent1">
                  <a:lumMod val="5000"/>
                  <a:lumOff val="95000"/>
                  <a:alpha val="75000"/>
                </a:schemeClr>
              </a:gs>
              <a:gs pos="47000">
                <a:schemeClr val="accent2">
                  <a:alpha val="75000"/>
                </a:schemeClr>
              </a:gs>
            </a:gsLst>
            <a:lin ang="5400000" scaled="1"/>
          </a:gradFill>
        </p:spPr>
        <p:txBody>
          <a:bodyPr lIns="274320" tIns="0" rIns="0" bIns="0" anchor="ctr" anchorCtr="0"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642229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header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9BD39B7-684D-4423-8BB6-5C8BA622930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018F322-4526-4A42-8E1A-638AC0E03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869B8A6-9804-1048-8166-F789E401FDA5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smtClean="0"/>
              <a:t>1/26/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55542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low i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174749E-3478-0846-8E5D-5A453C217D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2A6CBF33-95A6-BA4A-9EBE-9DD389BBF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5" y="1584325"/>
            <a:ext cx="5497513" cy="3475813"/>
          </a:xfrm>
        </p:spPr>
        <p:txBody>
          <a:bodyPr tIns="0" rIns="0" bIns="1097280" anchor="ctr" anchorCtr="0"/>
          <a:lstStyle>
            <a:lvl1pPr>
              <a:lnSpc>
                <a:spcPts val="4000"/>
              </a:lnSpc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DD338B1-A6EB-B747-93D6-CD0C954453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173091-C838-5F47-8B9C-4265A9A72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dify with Insert &gt; Header and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175CEF-9B03-8847-99BF-1904D1E441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21B976-CB04-C147-BDC7-E24651677804}"/>
              </a:ext>
            </a:extLst>
          </p:cNvPr>
          <p:cNvSpPr txBox="1"/>
          <p:nvPr userDrawn="1"/>
        </p:nvSpPr>
        <p:spPr>
          <a:xfrm>
            <a:off x="10228984" y="6400970"/>
            <a:ext cx="1496291" cy="208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lvl="0" indent="-4572000" algn="r"/>
            <a:r>
              <a:rPr lang="en-US" sz="800" b="1">
                <a:solidFill>
                  <a:schemeClr val="accent1"/>
                </a:solidFill>
              </a:rPr>
              <a:t>UNC Health</a:t>
            </a:r>
          </a:p>
        </p:txBody>
      </p:sp>
    </p:spTree>
    <p:extLst>
      <p:ext uri="{BB962C8B-B14F-4D97-AF65-F5344CB8AC3E}">
        <p14:creationId xmlns:p14="http://schemas.microsoft.com/office/powerpoint/2010/main" val="265105952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63D6A7-88A5-E44F-8183-AEF6D7F5F2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A9DE8-E46C-2749-B0B2-5ADDEB5B1D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9BD39B7-684D-4423-8BB6-5C8BA622930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DF7185A-0E54-EC4B-A2D7-B3EEFA3226D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 smtClean="0"/>
              <a:t>1/26/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30948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18.emf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1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3" Type="http://schemas.openxmlformats.org/officeDocument/2006/relationships/slideLayout" Target="../slideLayouts/slideLayout74.xml"/><Relationship Id="rId21" Type="http://schemas.openxmlformats.org/officeDocument/2006/relationships/vmlDrawing" Target="../drawings/vmlDrawing4.v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image" Target="../media/image23.emf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24" Type="http://schemas.openxmlformats.org/officeDocument/2006/relationships/oleObject" Target="../embeddings/oleObject4.bin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tags" Target="../tags/tag8.xml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6725" y="342900"/>
            <a:ext cx="11258550" cy="723900"/>
          </a:xfrm>
          <a:prstGeom prst="rect">
            <a:avLst/>
          </a:prstGeom>
        </p:spPr>
        <p:txBody>
          <a:bodyPr vert="horz" lIns="0" tIns="868680" rIns="1938528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725" y="1584326"/>
            <a:ext cx="11258550" cy="4676775"/>
          </a:xfrm>
          <a:prstGeom prst="rect">
            <a:avLst/>
          </a:prstGeom>
        </p:spPr>
        <p:txBody>
          <a:bodyPr vert="horz" lIns="0" tIns="73152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 </a:t>
            </a:r>
          </a:p>
          <a:p>
            <a:pPr lvl="3"/>
            <a:r>
              <a:rPr lang="en-US" dirty="0"/>
              <a:t>Fourth level</a:t>
            </a:r>
          </a:p>
          <a:p>
            <a:pPr marL="685800" marR="0" lvl="4" indent="-2286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2"/>
              </a:buClr>
              <a:buSzPct val="80000"/>
              <a:buFont typeface="Arial Unicode MS" panose="020B0604020202020204" pitchFamily="34" charset="-128"/>
              <a:buChar char="￮"/>
              <a:tabLst>
                <a:tab pos="292608" algn="l"/>
                <a:tab pos="585216" algn="l"/>
              </a:tabLst>
              <a:defRPr/>
            </a:pPr>
            <a:r>
              <a:rPr lang="en-US" dirty="0"/>
              <a:t>Fifth level</a:t>
            </a:r>
          </a:p>
          <a:p>
            <a:pPr lvl="3"/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61304" y="6400970"/>
            <a:ext cx="5922221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indent="9525" algn="l">
              <a:tabLst/>
              <a:defRPr sz="800" b="0" i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1pPr>
            <a:lvl2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2pPr>
            <a:lvl3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3pPr>
            <a:lvl4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4pPr>
            <a:lvl5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5pPr>
            <a:lvl6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6pPr>
            <a:lvl7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7pPr>
            <a:lvl8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8pPr>
            <a:lvl9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9pPr>
          </a:lstStyle>
          <a:p>
            <a:r>
              <a:rPr lang="en-US" dirty="0"/>
              <a:t>Modify with Insert &gt; Header and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725" y="6400970"/>
            <a:ext cx="424392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1pPr>
            <a:lvl2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2pPr>
            <a:lvl3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3pPr>
            <a:lvl4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4pPr>
            <a:lvl5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5pPr>
            <a:lvl6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6pPr>
            <a:lvl7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7pPr>
            <a:lvl8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8pPr>
            <a:lvl9pPr marL="0" algn="l">
              <a:defRPr sz="800" b="0" i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9pPr>
          </a:lstStyle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5D300FB-C47F-BA4E-A67A-042C3A7A6A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1117" y="6400970"/>
            <a:ext cx="1070187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</a:defRPr>
            </a:lvl1pPr>
            <a:lvl2pPr marL="0" algn="ctr">
              <a:defRPr sz="800">
                <a:solidFill>
                  <a:schemeClr val="accent1"/>
                </a:solidFill>
              </a:defRPr>
            </a:lvl2pPr>
            <a:lvl3pPr marL="0" algn="ctr">
              <a:defRPr sz="800">
                <a:solidFill>
                  <a:schemeClr val="accent1"/>
                </a:solidFill>
              </a:defRPr>
            </a:lvl3pPr>
            <a:lvl4pPr marL="0" algn="ctr">
              <a:defRPr sz="800">
                <a:solidFill>
                  <a:schemeClr val="accent1"/>
                </a:solidFill>
              </a:defRPr>
            </a:lvl4pPr>
            <a:lvl5pPr marL="0" algn="ctr">
              <a:defRPr sz="800">
                <a:solidFill>
                  <a:schemeClr val="accent1"/>
                </a:solidFill>
              </a:defRPr>
            </a:lvl5pPr>
            <a:lvl6pPr marL="0" algn="ctr">
              <a:defRPr sz="800">
                <a:solidFill>
                  <a:schemeClr val="accent1"/>
                </a:solidFill>
              </a:defRPr>
            </a:lvl6pPr>
            <a:lvl7pPr marL="0" algn="ctr">
              <a:defRPr sz="800">
                <a:solidFill>
                  <a:schemeClr val="accent1"/>
                </a:solidFill>
              </a:defRPr>
            </a:lvl7pPr>
            <a:lvl8pPr marL="0" algn="ctr">
              <a:defRPr sz="800">
                <a:solidFill>
                  <a:schemeClr val="accent1"/>
                </a:solidFill>
              </a:defRPr>
            </a:lvl8pPr>
            <a:lvl9pPr marL="0" algn="ctr">
              <a:defRPr sz="800">
                <a:solidFill>
                  <a:schemeClr val="accent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2EE6E4-ED9E-C34A-BAFF-47DECD28E2BC}"/>
              </a:ext>
            </a:extLst>
          </p:cNvPr>
          <p:cNvSpPr txBox="1"/>
          <p:nvPr userDrawn="1"/>
        </p:nvSpPr>
        <p:spPr>
          <a:xfrm>
            <a:off x="10228984" y="6400970"/>
            <a:ext cx="1496291" cy="208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lvl="0" indent="-4572000" algn="r"/>
            <a:r>
              <a:rPr lang="en-US" sz="800" b="1">
                <a:solidFill>
                  <a:schemeClr val="accent1"/>
                </a:solidFill>
              </a:rPr>
              <a:t>UNC Health</a:t>
            </a:r>
          </a:p>
        </p:txBody>
      </p:sp>
    </p:spTree>
    <p:extLst>
      <p:ext uri="{BB962C8B-B14F-4D97-AF65-F5344CB8AC3E}">
        <p14:creationId xmlns:p14="http://schemas.microsoft.com/office/powerpoint/2010/main" val="172771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63" r:id="rId2"/>
    <p:sldLayoutId id="2147483736" r:id="rId3"/>
    <p:sldLayoutId id="2147483785" r:id="rId4"/>
    <p:sldLayoutId id="2147483786" r:id="rId5"/>
    <p:sldLayoutId id="2147483787" r:id="rId6"/>
    <p:sldLayoutId id="2147483788" r:id="rId7"/>
    <p:sldLayoutId id="2147483741" r:id="rId8"/>
    <p:sldLayoutId id="2147483773" r:id="rId9"/>
    <p:sldLayoutId id="2147483758" r:id="rId10"/>
    <p:sldLayoutId id="2147483774" r:id="rId11"/>
    <p:sldLayoutId id="2147483775" r:id="rId12"/>
    <p:sldLayoutId id="2147483776" r:id="rId13"/>
    <p:sldLayoutId id="2147483745" r:id="rId14"/>
    <p:sldLayoutId id="2147483746" r:id="rId15"/>
    <p:sldLayoutId id="2147483747" r:id="rId16"/>
    <p:sldLayoutId id="2147483748" r:id="rId17"/>
    <p:sldLayoutId id="2147483778" r:id="rId18"/>
    <p:sldLayoutId id="2147483779" r:id="rId19"/>
    <p:sldLayoutId id="2147483780" r:id="rId20"/>
    <p:sldLayoutId id="2147483781" r:id="rId21"/>
    <p:sldLayoutId id="2147483782" r:id="rId22"/>
    <p:sldLayoutId id="2147483783" r:id="rId23"/>
    <p:sldLayoutId id="2147483784" r:id="rId24"/>
    <p:sldLayoutId id="2147483760" r:id="rId25"/>
    <p:sldLayoutId id="2147483756" r:id="rId26"/>
    <p:sldLayoutId id="2147483708" r:id="rId27"/>
    <p:sldLayoutId id="2147483765" r:id="rId28"/>
    <p:sldLayoutId id="2147483777" r:id="rId29"/>
  </p:sldLayoutIdLst>
  <p:hf hd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400" b="1" i="0" kern="1200">
          <a:solidFill>
            <a:schemeClr val="accent2"/>
          </a:solidFill>
          <a:latin typeface="+mj-lt"/>
          <a:ea typeface="Georgia" charset="0"/>
          <a:cs typeface="Georgia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600" b="0" i="0" kern="1200">
          <a:solidFill>
            <a:schemeClr val="tx2"/>
          </a:solidFill>
          <a:latin typeface="+mn-lt"/>
          <a:ea typeface="Arial" charset="0"/>
          <a:cs typeface="Arial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2"/>
        </a:buClr>
        <a:buFontTx/>
        <a:buNone/>
        <a:tabLst>
          <a:tab pos="280988" algn="l"/>
        </a:tabLst>
        <a:defRPr sz="1800" b="1" i="0" kern="1200">
          <a:solidFill>
            <a:schemeClr val="accent1"/>
          </a:solidFill>
          <a:latin typeface="+mn-lt"/>
          <a:ea typeface="Corbel" charset="0"/>
          <a:cs typeface="Corbel" charset="0"/>
        </a:defRPr>
      </a:lvl2pPr>
      <a:lvl3pPr marL="228600" indent="-227013" algn="l" defTabSz="292608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Font typeface="Arial" panose="020B0604020202020204" pitchFamily="34" charset="0"/>
        <a:buChar char="•"/>
        <a:tabLst>
          <a:tab pos="276225" algn="l"/>
          <a:tab pos="584200" algn="l"/>
        </a:tabLst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3pPr>
      <a:lvl4pPr marL="457200" marR="0" indent="-228600" algn="l" defTabSz="292608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>
          <a:tab pos="292608" algn="l"/>
          <a:tab pos="585216" algn="l"/>
        </a:tabLst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4pPr>
      <a:lvl5pPr marL="685800" indent="-228600" algn="l" defTabSz="292608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>
          <a:tab pos="292608" algn="l"/>
          <a:tab pos="585216" algn="l"/>
        </a:tabLst>
        <a:defRPr sz="1600" b="0" kern="1200">
          <a:solidFill>
            <a:schemeClr val="tx2"/>
          </a:solidFill>
          <a:latin typeface="+mn-lt"/>
          <a:ea typeface="Corbel" charset="0"/>
          <a:cs typeface="Corbel" charset="0"/>
        </a:defRPr>
      </a:lvl5pPr>
      <a:lvl6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/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6pPr>
      <a:lvl7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/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7pPr>
      <a:lvl8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/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8pPr>
      <a:lvl9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/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714" userDrawn="1">
          <p15:clr>
            <a:srgbClr val="F26B43"/>
          </p15:clr>
        </p15:guide>
        <p15:guide id="3" pos="294" userDrawn="1">
          <p15:clr>
            <a:srgbClr val="F26B43"/>
          </p15:clr>
        </p15:guide>
        <p15:guide id="8" pos="2541" userDrawn="1">
          <p15:clr>
            <a:srgbClr val="F26B43"/>
          </p15:clr>
        </p15:guide>
        <p15:guide id="9" pos="3757" userDrawn="1">
          <p15:clr>
            <a:srgbClr val="F26B43"/>
          </p15:clr>
        </p15:guide>
        <p15:guide id="10" pos="3840" userDrawn="1">
          <p15:clr>
            <a:srgbClr val="F26B43"/>
          </p15:clr>
        </p15:guide>
        <p15:guide id="12" pos="3930" userDrawn="1">
          <p15:clr>
            <a:srgbClr val="F26B43"/>
          </p15:clr>
        </p15:guide>
        <p15:guide id="13" pos="7386" userDrawn="1">
          <p15:clr>
            <a:srgbClr val="F26B43"/>
          </p15:clr>
        </p15:guide>
        <p15:guide id="15" pos="4966" userDrawn="1">
          <p15:clr>
            <a:srgbClr val="F26B43"/>
          </p15:clr>
        </p15:guide>
        <p15:guide id="16" pos="5139" userDrawn="1">
          <p15:clr>
            <a:srgbClr val="F26B43"/>
          </p15:clr>
        </p15:guide>
        <p15:guide id="23" orient="horz" pos="4148" userDrawn="1">
          <p15:clr>
            <a:srgbClr val="F26B43"/>
          </p15:clr>
        </p15:guide>
        <p15:guide id="24" orient="horz" pos="3944" userDrawn="1">
          <p15:clr>
            <a:srgbClr val="F26B43"/>
          </p15:clr>
        </p15:guide>
        <p15:guide id="25" orient="horz" pos="216" userDrawn="1">
          <p15:clr>
            <a:srgbClr val="F26B43"/>
          </p15:clr>
        </p15:guide>
        <p15:guide id="26" orient="horz" pos="998" userDrawn="1">
          <p15:clr>
            <a:srgbClr val="F26B43"/>
          </p15:clr>
        </p15:guide>
        <p15:guide id="27" orient="horz" pos="672" userDrawn="1">
          <p15:clr>
            <a:srgbClr val="F26B43"/>
          </p15:clr>
        </p15:guide>
        <p15:guide id="31" orient="horz" pos="835" userDrawn="1">
          <p15:clr>
            <a:srgbClr val="F26B43"/>
          </p15:clr>
        </p15:guide>
        <p15:guide id="32" orient="horz" pos="402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older 4">
            <a:extLst>
              <a:ext uri="{FF2B5EF4-FFF2-40B4-BE49-F238E27FC236}">
                <a16:creationId xmlns:a16="http://schemas.microsoft.com/office/drawing/2014/main" id="{CD0143E0-27B5-4386-A975-BD54864CD9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15243" y="6400800"/>
            <a:ext cx="2804160" cy="342900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8527A1ED-DCAD-438F-9F18-B24C192B15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46" y="399426"/>
            <a:ext cx="11385506" cy="43088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3E3204-F4A7-470C-B30D-D19B3848E6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3247" y="838357"/>
            <a:ext cx="11385506" cy="276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2511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1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2016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" name="think-cell Slide" r:id="rId14" imgW="381" imgH="381" progId="TCLayout.ActiveDocument.1">
                  <p:embed/>
                </p:oleObj>
              </mc:Choice>
              <mc:Fallback>
                <p:oleObj name="think-cell Slide" r:id="rId14" imgW="381" imgH="381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6" y="1589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noFill/>
          <a:ln>
            <a:solidFill>
              <a:srgbClr val="0045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ctr" eaLnBrk="1">
              <a:lnSpc>
                <a:spcPct val="110000"/>
              </a:lnSpc>
              <a:spcBef>
                <a:spcPts val="100"/>
              </a:spcBef>
              <a:spcAft>
                <a:spcPts val="100"/>
              </a:spcAft>
            </a:pPr>
            <a:endParaRPr lang="en-US" sz="2400" b="1" i="0" cap="all" spc="100" baseline="0" dirty="0">
              <a:solidFill>
                <a:srgbClr val="336699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47" name="Rectangle 123"/>
          <p:cNvSpPr>
            <a:spLocks noChangeArrowheads="1"/>
          </p:cNvSpPr>
          <p:nvPr/>
        </p:nvSpPr>
        <p:spPr bwMode="auto">
          <a:xfrm>
            <a:off x="0" y="0"/>
            <a:ext cx="387048" cy="48768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sz="2400" dirty="0">
              <a:latin typeface="Times New Roman" pitchFamily="18" charset="0"/>
            </a:endParaRPr>
          </a:p>
        </p:txBody>
      </p:sp>
      <p:sp>
        <p:nvSpPr>
          <p:cNvPr id="1149" name="Line 125"/>
          <p:cNvSpPr>
            <a:spLocks noChangeShapeType="1"/>
          </p:cNvSpPr>
          <p:nvPr/>
        </p:nvSpPr>
        <p:spPr bwMode="auto">
          <a:xfrm>
            <a:off x="0" y="4876800"/>
            <a:ext cx="387048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800" dirty="0"/>
          </a:p>
        </p:txBody>
      </p:sp>
      <p:sp>
        <p:nvSpPr>
          <p:cNvPr id="1170" name="Line 146"/>
          <p:cNvSpPr>
            <a:spLocks noChangeShapeType="1"/>
          </p:cNvSpPr>
          <p:nvPr/>
        </p:nvSpPr>
        <p:spPr bwMode="auto">
          <a:xfrm>
            <a:off x="487842" y="1006475"/>
            <a:ext cx="11216317" cy="0"/>
          </a:xfrm>
          <a:prstGeom prst="line">
            <a:avLst/>
          </a:prstGeom>
          <a:noFill/>
          <a:ln w="19050">
            <a:solidFill>
              <a:srgbClr val="003366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800" dirty="0"/>
          </a:p>
        </p:txBody>
      </p:sp>
      <p:sp>
        <p:nvSpPr>
          <p:cNvPr id="10246" name="Rectangle 1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0572" y="1600201"/>
            <a:ext cx="11030857" cy="4530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83" name="Text Box 159"/>
          <p:cNvSpPr txBox="1">
            <a:spLocks noChangeArrowheads="1"/>
          </p:cNvSpPr>
          <p:nvPr/>
        </p:nvSpPr>
        <p:spPr bwMode="auto">
          <a:xfrm>
            <a:off x="11905746" y="6647187"/>
            <a:ext cx="233841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fld id="{BF1DFE13-3F72-4A0E-8E2D-3FA63B2C5A47}" type="slidenum">
              <a:rPr lang="en-US" sz="900"/>
              <a:pPr>
                <a:defRPr/>
              </a:pPr>
              <a:t>‹#›</a:t>
            </a:fld>
            <a:endParaRPr lang="en-US" sz="900" dirty="0"/>
          </a:p>
        </p:txBody>
      </p:sp>
      <p:sp>
        <p:nvSpPr>
          <p:cNvPr id="10248" name="Rectangle 217"/>
          <p:cNvSpPr>
            <a:spLocks noGrp="1" noChangeArrowheads="1"/>
          </p:cNvSpPr>
          <p:nvPr>
            <p:ph type="title"/>
          </p:nvPr>
        </p:nvSpPr>
        <p:spPr bwMode="auto">
          <a:xfrm>
            <a:off x="580572" y="163513"/>
            <a:ext cx="11030857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</a:t>
            </a:r>
          </a:p>
        </p:txBody>
      </p:sp>
      <p:sp>
        <p:nvSpPr>
          <p:cNvPr id="1330" name="Text Box 306"/>
          <p:cNvSpPr txBox="1">
            <a:spLocks noChangeArrowheads="1"/>
          </p:cNvSpPr>
          <p:nvPr userDrawn="1"/>
        </p:nvSpPr>
        <p:spPr bwMode="auto">
          <a:xfrm rot="5400000">
            <a:off x="-1835855" y="2368034"/>
            <a:ext cx="40386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  <a:defRPr/>
            </a:pPr>
            <a:r>
              <a:rPr lang="en-US" sz="1800" dirty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</p:spTree>
    <p:extLst>
      <p:ext uri="{BB962C8B-B14F-4D97-AF65-F5344CB8AC3E}">
        <p14:creationId xmlns:p14="http://schemas.microsoft.com/office/powerpoint/2010/main" val="4229767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3984" r:id="rId2"/>
    <p:sldLayoutId id="2147483985" r:id="rId3"/>
    <p:sldLayoutId id="2147483986" r:id="rId4"/>
    <p:sldLayoutId id="2147483987" r:id="rId5"/>
    <p:sldLayoutId id="2147483988" r:id="rId6"/>
    <p:sldLayoutId id="2147483989" r:id="rId7"/>
    <p:sldLayoutId id="2147483991" r:id="rId8"/>
    <p:sldLayoutId id="2147483992" r:id="rId9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defRPr sz="1600" b="1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38163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>
              <a:lumMod val="75000"/>
              <a:lumOff val="25000"/>
            </a:schemeClr>
          </a:solidFill>
          <a:latin typeface="+mn-lt"/>
          <a:cs typeface="+mn-cs"/>
        </a:defRPr>
      </a:lvl2pPr>
      <a:lvl3pPr marL="896938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>
              <a:lumMod val="75000"/>
              <a:lumOff val="25000"/>
            </a:schemeClr>
          </a:solidFill>
          <a:latin typeface="+mn-lt"/>
          <a:cs typeface="+mn-cs"/>
        </a:defRPr>
      </a:lvl3pPr>
      <a:lvl4pPr marL="1255713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>
              <a:lumMod val="75000"/>
              <a:lumOff val="25000"/>
            </a:schemeClr>
          </a:solidFill>
          <a:latin typeface="+mn-lt"/>
          <a:cs typeface="+mn-cs"/>
        </a:defRPr>
      </a:lvl4pPr>
      <a:lvl5pPr marL="1616075" indent="-1809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>
              <a:lumMod val="75000"/>
              <a:lumOff val="25000"/>
            </a:schemeClr>
          </a:solidFill>
          <a:latin typeface="+mn-lt"/>
          <a:cs typeface="+mn-cs"/>
        </a:defRPr>
      </a:lvl5pPr>
      <a:lvl6pPr marL="20732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5304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9876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4448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6725" y="342900"/>
            <a:ext cx="11258550" cy="723900"/>
          </a:xfrm>
          <a:prstGeom prst="rect">
            <a:avLst/>
          </a:prstGeom>
        </p:spPr>
        <p:txBody>
          <a:bodyPr vert="horz" lIns="0" tIns="868680" rIns="1938528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725" y="1584326"/>
            <a:ext cx="11258550" cy="4676775"/>
          </a:xfrm>
          <a:prstGeom prst="rect">
            <a:avLst/>
          </a:prstGeom>
        </p:spPr>
        <p:txBody>
          <a:bodyPr vert="horz" lIns="0" tIns="73152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 </a:t>
            </a:r>
          </a:p>
          <a:p>
            <a:pPr lvl="3"/>
            <a:r>
              <a:rPr lang="en-US" dirty="0"/>
              <a:t>Fourth level</a:t>
            </a:r>
          </a:p>
          <a:p>
            <a:pPr marL="685800" marR="0" lvl="4" indent="-2286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2"/>
              </a:buClr>
              <a:buSzPct val="80000"/>
              <a:buFont typeface="Arial Unicode MS" panose="020B0604020202020204" pitchFamily="34" charset="-128"/>
              <a:buChar char="￮"/>
              <a:tabLst>
                <a:tab pos="292608" algn="l"/>
                <a:tab pos="585216" algn="l"/>
              </a:tabLst>
              <a:defRPr/>
            </a:pPr>
            <a:r>
              <a:rPr lang="en-US" dirty="0"/>
              <a:t>Fifth level</a:t>
            </a:r>
          </a:p>
          <a:p>
            <a:pPr lvl="3"/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61304" y="6400970"/>
            <a:ext cx="5922221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indent="9525" algn="l">
              <a:tabLst/>
              <a:defRPr sz="800" b="0" i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1pPr>
            <a:lvl2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2pPr>
            <a:lvl3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3pPr>
            <a:lvl4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4pPr>
            <a:lvl5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5pPr>
            <a:lvl6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6pPr>
            <a:lvl7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7pPr>
            <a:lvl8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8pPr>
            <a:lvl9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9pPr>
          </a:lstStyle>
          <a:p>
            <a:r>
              <a:rPr lang="en-US" dirty="0"/>
              <a:t>Modify with Insert &gt; Header and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725" y="6400970"/>
            <a:ext cx="424392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1pPr>
            <a:lvl2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2pPr>
            <a:lvl3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3pPr>
            <a:lvl4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4pPr>
            <a:lvl5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5pPr>
            <a:lvl6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6pPr>
            <a:lvl7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7pPr>
            <a:lvl8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8pPr>
            <a:lvl9pPr marL="0" algn="l">
              <a:defRPr sz="800" b="0" i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9pPr>
          </a:lstStyle>
          <a:p>
            <a:fld id="{63DCA5C9-2E11-4C67-86EB-AE1DE127DC6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5D300FB-C47F-BA4E-A67A-042C3A7A6A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1117" y="6400970"/>
            <a:ext cx="1070187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</a:defRPr>
            </a:lvl1pPr>
            <a:lvl2pPr marL="0" algn="ctr">
              <a:defRPr sz="800">
                <a:solidFill>
                  <a:schemeClr val="accent1"/>
                </a:solidFill>
              </a:defRPr>
            </a:lvl2pPr>
            <a:lvl3pPr marL="0" algn="ctr">
              <a:defRPr sz="800">
                <a:solidFill>
                  <a:schemeClr val="accent1"/>
                </a:solidFill>
              </a:defRPr>
            </a:lvl3pPr>
            <a:lvl4pPr marL="0" algn="ctr">
              <a:defRPr sz="800">
                <a:solidFill>
                  <a:schemeClr val="accent1"/>
                </a:solidFill>
              </a:defRPr>
            </a:lvl4pPr>
            <a:lvl5pPr marL="0" algn="ctr">
              <a:defRPr sz="800">
                <a:solidFill>
                  <a:schemeClr val="accent1"/>
                </a:solidFill>
              </a:defRPr>
            </a:lvl5pPr>
            <a:lvl6pPr marL="0" algn="ctr">
              <a:defRPr sz="800">
                <a:solidFill>
                  <a:schemeClr val="accent1"/>
                </a:solidFill>
              </a:defRPr>
            </a:lvl6pPr>
            <a:lvl7pPr marL="0" algn="ctr">
              <a:defRPr sz="800">
                <a:solidFill>
                  <a:schemeClr val="accent1"/>
                </a:solidFill>
              </a:defRPr>
            </a:lvl7pPr>
            <a:lvl8pPr marL="0" algn="ctr">
              <a:defRPr sz="800">
                <a:solidFill>
                  <a:schemeClr val="accent1"/>
                </a:solidFill>
              </a:defRPr>
            </a:lvl8pPr>
            <a:lvl9pPr marL="0" algn="ctr">
              <a:defRPr sz="800">
                <a:solidFill>
                  <a:schemeClr val="accent1"/>
                </a:solidFill>
              </a:defRPr>
            </a:lvl9pPr>
          </a:lstStyle>
          <a:p>
            <a:r>
              <a:rPr lang="en-US"/>
              <a:t>XX.XX.XXX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2EE6E4-ED9E-C34A-BAFF-47DECD28E2BC}"/>
              </a:ext>
            </a:extLst>
          </p:cNvPr>
          <p:cNvSpPr txBox="1"/>
          <p:nvPr userDrawn="1"/>
        </p:nvSpPr>
        <p:spPr>
          <a:xfrm>
            <a:off x="10228984" y="6400970"/>
            <a:ext cx="1496291" cy="208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lvl="0" indent="-4572000" algn="r"/>
            <a:r>
              <a:rPr lang="en-US" sz="800" b="1">
                <a:solidFill>
                  <a:schemeClr val="accent1"/>
                </a:solidFill>
              </a:rPr>
              <a:t>UNC Health</a:t>
            </a:r>
          </a:p>
        </p:txBody>
      </p:sp>
    </p:spTree>
    <p:extLst>
      <p:ext uri="{BB962C8B-B14F-4D97-AF65-F5344CB8AC3E}">
        <p14:creationId xmlns:p14="http://schemas.microsoft.com/office/powerpoint/2010/main" val="2771354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  <p:sldLayoutId id="2147484003" r:id="rId10"/>
    <p:sldLayoutId id="2147484004" r:id="rId11"/>
    <p:sldLayoutId id="2147484005" r:id="rId12"/>
    <p:sldLayoutId id="2147484006" r:id="rId13"/>
    <p:sldLayoutId id="2147484007" r:id="rId14"/>
    <p:sldLayoutId id="2147484008" r:id="rId15"/>
    <p:sldLayoutId id="2147484009" r:id="rId16"/>
    <p:sldLayoutId id="2147484010" r:id="rId17"/>
    <p:sldLayoutId id="2147484011" r:id="rId18"/>
    <p:sldLayoutId id="2147484012" r:id="rId19"/>
    <p:sldLayoutId id="2147484013" r:id="rId20"/>
    <p:sldLayoutId id="2147484014" r:id="rId21"/>
    <p:sldLayoutId id="2147484015" r:id="rId22"/>
    <p:sldLayoutId id="2147484016" r:id="rId23"/>
    <p:sldLayoutId id="2147484017" r:id="rId24"/>
    <p:sldLayoutId id="2147484018" r:id="rId25"/>
    <p:sldLayoutId id="2147484019" r:id="rId26"/>
    <p:sldLayoutId id="2147484020" r:id="rId27"/>
    <p:sldLayoutId id="2147484021" r:id="rId28"/>
    <p:sldLayoutId id="2147484022" r:id="rId29"/>
  </p:sldLayoutIdLst>
  <p:hf hd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400" b="1" i="0" kern="1200">
          <a:solidFill>
            <a:schemeClr val="accent2"/>
          </a:solidFill>
          <a:latin typeface="+mj-lt"/>
          <a:ea typeface="Georgia" charset="0"/>
          <a:cs typeface="Georgia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600" b="0" i="0" kern="1200">
          <a:solidFill>
            <a:schemeClr val="tx2"/>
          </a:solidFill>
          <a:latin typeface="+mn-lt"/>
          <a:ea typeface="Arial" charset="0"/>
          <a:cs typeface="Arial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2"/>
        </a:buClr>
        <a:buFontTx/>
        <a:buNone/>
        <a:tabLst>
          <a:tab pos="280988" algn="l"/>
        </a:tabLst>
        <a:defRPr sz="1800" b="1" i="0" kern="1200">
          <a:solidFill>
            <a:schemeClr val="accent1"/>
          </a:solidFill>
          <a:latin typeface="+mn-lt"/>
          <a:ea typeface="Corbel" charset="0"/>
          <a:cs typeface="Corbel" charset="0"/>
        </a:defRPr>
      </a:lvl2pPr>
      <a:lvl3pPr marL="228600" indent="-227013" algn="l" defTabSz="292608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Font typeface="Arial" panose="020B0604020202020204" pitchFamily="34" charset="0"/>
        <a:buChar char="•"/>
        <a:tabLst>
          <a:tab pos="276225" algn="l"/>
          <a:tab pos="584200" algn="l"/>
        </a:tabLst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3pPr>
      <a:lvl4pPr marL="457200" marR="0" indent="-228600" algn="l" defTabSz="292608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>
          <a:tab pos="292608" algn="l"/>
          <a:tab pos="585216" algn="l"/>
        </a:tabLst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4pPr>
      <a:lvl5pPr marL="685800" indent="-228600" algn="l" defTabSz="292608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>
          <a:tab pos="292608" algn="l"/>
          <a:tab pos="585216" algn="l"/>
        </a:tabLst>
        <a:defRPr sz="1600" b="0" kern="1200">
          <a:solidFill>
            <a:schemeClr val="tx2"/>
          </a:solidFill>
          <a:latin typeface="+mn-lt"/>
          <a:ea typeface="Corbel" charset="0"/>
          <a:cs typeface="Corbel" charset="0"/>
        </a:defRPr>
      </a:lvl5pPr>
      <a:lvl6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/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6pPr>
      <a:lvl7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/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7pPr>
      <a:lvl8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/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8pPr>
      <a:lvl9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/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714">
          <p15:clr>
            <a:srgbClr val="F26B43"/>
          </p15:clr>
        </p15:guide>
        <p15:guide id="3" pos="294">
          <p15:clr>
            <a:srgbClr val="F26B43"/>
          </p15:clr>
        </p15:guide>
        <p15:guide id="8" pos="2541">
          <p15:clr>
            <a:srgbClr val="F26B43"/>
          </p15:clr>
        </p15:guide>
        <p15:guide id="9" pos="3757">
          <p15:clr>
            <a:srgbClr val="F26B43"/>
          </p15:clr>
        </p15:guide>
        <p15:guide id="10" pos="3840">
          <p15:clr>
            <a:srgbClr val="F26B43"/>
          </p15:clr>
        </p15:guide>
        <p15:guide id="12" pos="3930">
          <p15:clr>
            <a:srgbClr val="F26B43"/>
          </p15:clr>
        </p15:guide>
        <p15:guide id="13" pos="7386">
          <p15:clr>
            <a:srgbClr val="F26B43"/>
          </p15:clr>
        </p15:guide>
        <p15:guide id="15" pos="4966">
          <p15:clr>
            <a:srgbClr val="F26B43"/>
          </p15:clr>
        </p15:guide>
        <p15:guide id="16" pos="5139">
          <p15:clr>
            <a:srgbClr val="F26B43"/>
          </p15:clr>
        </p15:guide>
        <p15:guide id="23" orient="horz" pos="4148">
          <p15:clr>
            <a:srgbClr val="F26B43"/>
          </p15:clr>
        </p15:guide>
        <p15:guide id="24" orient="horz" pos="3944">
          <p15:clr>
            <a:srgbClr val="F26B43"/>
          </p15:clr>
        </p15:guide>
        <p15:guide id="25" orient="horz" pos="216">
          <p15:clr>
            <a:srgbClr val="F26B43"/>
          </p15:clr>
        </p15:guide>
        <p15:guide id="26" orient="horz" pos="998">
          <p15:clr>
            <a:srgbClr val="F26B43"/>
          </p15:clr>
        </p15:guide>
        <p15:guide id="27" orient="horz" pos="672">
          <p15:clr>
            <a:srgbClr val="F26B43"/>
          </p15:clr>
        </p15:guide>
        <p15:guide id="31" orient="horz" pos="835">
          <p15:clr>
            <a:srgbClr val="F26B43"/>
          </p15:clr>
        </p15:guide>
        <p15:guide id="32" orient="horz" pos="402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4F473BD-E3A5-0144-B414-5D33F8421B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24" imgW="7772400" imgH="10058400" progId="TCLayout.ActiveDocument.1">
                  <p:embed/>
                </p:oleObj>
              </mc:Choice>
              <mc:Fallback>
                <p:oleObj name="think-cell Slide" r:id="rId2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4F473BD-E3A5-0144-B414-5D33F8421B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8788913-DE1D-1F4E-8E9F-0368C6969B32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599" y="342900"/>
            <a:ext cx="10972800" cy="723900"/>
          </a:xfrm>
          <a:prstGeom prst="rect">
            <a:avLst/>
          </a:prstGeom>
        </p:spPr>
        <p:txBody>
          <a:bodyPr vert="horz" lIns="0" tIns="868680" rIns="137160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84328"/>
            <a:ext cx="10972800" cy="4676775"/>
          </a:xfrm>
          <a:prstGeom prst="rect">
            <a:avLst/>
          </a:prstGeom>
        </p:spPr>
        <p:txBody>
          <a:bodyPr vert="horz" lIns="0" tIns="73152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 </a:t>
            </a:r>
          </a:p>
          <a:p>
            <a:pPr lvl="3"/>
            <a:r>
              <a:rPr lang="en-US" dirty="0"/>
              <a:t>Fourth level</a:t>
            </a:r>
          </a:p>
          <a:p>
            <a:pPr marL="685800" marR="0" lvl="4" indent="-228600" algn="l" defTabSz="292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2"/>
              </a:buClr>
              <a:buSzPct val="80000"/>
              <a:buFont typeface="Arial Unicode MS" panose="020B0604020202020204" pitchFamily="34" charset="-128"/>
              <a:buChar char="￮"/>
              <a:tabLst>
                <a:tab pos="292608" algn="l"/>
                <a:tab pos="585216" algn="l"/>
              </a:tabLst>
              <a:defRPr/>
            </a:pPr>
            <a:r>
              <a:rPr lang="en-US" dirty="0"/>
              <a:t>Fifth level</a:t>
            </a:r>
          </a:p>
          <a:p>
            <a:pPr lvl="3"/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04180" y="6400970"/>
            <a:ext cx="5695739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indent="9525" algn="l">
              <a:tabLst/>
              <a:defRPr sz="800" b="0" i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1pPr>
            <a:lvl2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2pPr>
            <a:lvl3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3pPr>
            <a:lvl4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4pPr>
            <a:lvl5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5pPr>
            <a:lvl6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6pPr>
            <a:lvl7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7pPr>
            <a:lvl8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8pPr>
            <a:lvl9pPr marL="0" indent="9525" algn="l">
              <a:tabLst/>
              <a:defRPr sz="80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09600" y="6400970"/>
            <a:ext cx="424392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1pPr>
            <a:lvl2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2pPr>
            <a:lvl3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3pPr>
            <a:lvl4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4pPr>
            <a:lvl5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5pPr>
            <a:lvl6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6pPr>
            <a:lvl7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7pPr>
            <a:lvl8pPr marL="0" algn="l">
              <a:defRPr sz="800" b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8pPr>
            <a:lvl9pPr marL="0" algn="l">
              <a:defRPr sz="800" b="0" i="0">
                <a:solidFill>
                  <a:schemeClr val="accent1"/>
                </a:solidFill>
                <a:latin typeface="+mn-lt"/>
                <a:ea typeface="Corbel" charset="0"/>
                <a:cs typeface="Corbel" charset="0"/>
              </a:defRPr>
            </a:lvl9pPr>
          </a:lstStyle>
          <a:p>
            <a:fld id="{B9BD39B7-684D-4423-8BB6-5C8BA622930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5D300FB-C47F-BA4E-A67A-042C3A7A6A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3993" y="6400970"/>
            <a:ext cx="1070187" cy="20875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</a:defRPr>
            </a:lvl1pPr>
            <a:lvl2pPr marL="0" algn="ctr">
              <a:defRPr sz="800">
                <a:solidFill>
                  <a:schemeClr val="accent1"/>
                </a:solidFill>
              </a:defRPr>
            </a:lvl2pPr>
            <a:lvl3pPr marL="0" algn="ctr">
              <a:defRPr sz="800">
                <a:solidFill>
                  <a:schemeClr val="accent1"/>
                </a:solidFill>
              </a:defRPr>
            </a:lvl3pPr>
            <a:lvl4pPr marL="0" algn="ctr">
              <a:defRPr sz="800">
                <a:solidFill>
                  <a:schemeClr val="accent1"/>
                </a:solidFill>
              </a:defRPr>
            </a:lvl4pPr>
            <a:lvl5pPr marL="0" algn="ctr">
              <a:defRPr sz="800">
                <a:solidFill>
                  <a:schemeClr val="accent1"/>
                </a:solidFill>
              </a:defRPr>
            </a:lvl5pPr>
            <a:lvl6pPr marL="0" algn="ctr">
              <a:defRPr sz="800">
                <a:solidFill>
                  <a:schemeClr val="accent1"/>
                </a:solidFill>
              </a:defRPr>
            </a:lvl6pPr>
            <a:lvl7pPr marL="0" algn="ctr">
              <a:defRPr sz="800">
                <a:solidFill>
                  <a:schemeClr val="accent1"/>
                </a:solidFill>
              </a:defRPr>
            </a:lvl7pPr>
            <a:lvl8pPr marL="0" algn="ctr">
              <a:defRPr sz="800">
                <a:solidFill>
                  <a:schemeClr val="accent1"/>
                </a:solidFill>
              </a:defRPr>
            </a:lvl8pPr>
            <a:lvl9pPr marL="0" algn="ctr">
              <a:defRPr sz="800">
                <a:solidFill>
                  <a:schemeClr val="accent1"/>
                </a:solidFill>
              </a:defRPr>
            </a:lvl9pPr>
          </a:lstStyle>
          <a:p>
            <a:r>
              <a:rPr lang="en-US" smtClean="0"/>
              <a:t>1/26/2021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2EE6E4-ED9E-C34A-BAFF-47DECD28E2BC}"/>
              </a:ext>
            </a:extLst>
          </p:cNvPr>
          <p:cNvSpPr txBox="1"/>
          <p:nvPr/>
        </p:nvSpPr>
        <p:spPr>
          <a:xfrm>
            <a:off x="10086109" y="6400970"/>
            <a:ext cx="1496291" cy="20875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lvl="0" indent="-4572000" algn="r"/>
            <a:r>
              <a:rPr lang="en-US" sz="800" b="1" dirty="0">
                <a:solidFill>
                  <a:schemeClr val="accent1"/>
                </a:solidFill>
              </a:rPr>
              <a:t>UNC Health</a:t>
            </a:r>
          </a:p>
        </p:txBody>
      </p:sp>
    </p:spTree>
    <p:extLst>
      <p:ext uri="{BB962C8B-B14F-4D97-AF65-F5344CB8AC3E}">
        <p14:creationId xmlns:p14="http://schemas.microsoft.com/office/powerpoint/2010/main" val="4294252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4" r:id="rId1"/>
    <p:sldLayoutId id="2147484025" r:id="rId2"/>
    <p:sldLayoutId id="2147484026" r:id="rId3"/>
    <p:sldLayoutId id="2147484027" r:id="rId4"/>
    <p:sldLayoutId id="2147484028" r:id="rId5"/>
    <p:sldLayoutId id="2147484029" r:id="rId6"/>
    <p:sldLayoutId id="2147484030" r:id="rId7"/>
    <p:sldLayoutId id="2147484031" r:id="rId8"/>
    <p:sldLayoutId id="2147484032" r:id="rId9"/>
    <p:sldLayoutId id="2147484033" r:id="rId10"/>
    <p:sldLayoutId id="2147484034" r:id="rId11"/>
    <p:sldLayoutId id="2147484035" r:id="rId12"/>
    <p:sldLayoutId id="2147484036" r:id="rId13"/>
    <p:sldLayoutId id="2147484037" r:id="rId14"/>
    <p:sldLayoutId id="2147484038" r:id="rId15"/>
    <p:sldLayoutId id="2147484039" r:id="rId16"/>
    <p:sldLayoutId id="2147484040" r:id="rId17"/>
    <p:sldLayoutId id="2147484041" r:id="rId18"/>
    <p:sldLayoutId id="2147484042" r:id="rId19"/>
  </p:sldLayoutIdLst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400" b="1" i="0" kern="1200">
          <a:solidFill>
            <a:schemeClr val="accent2"/>
          </a:solidFill>
          <a:latin typeface="+mj-lt"/>
          <a:ea typeface="Georgia" charset="0"/>
          <a:cs typeface="Georgia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600" b="0" i="0" kern="1200">
          <a:solidFill>
            <a:schemeClr val="tx2"/>
          </a:solidFill>
          <a:latin typeface="+mn-lt"/>
          <a:ea typeface="Arial" charset="0"/>
          <a:cs typeface="Arial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2"/>
        </a:buClr>
        <a:buFontTx/>
        <a:buNone/>
        <a:tabLst>
          <a:tab pos="280988" algn="l"/>
        </a:tabLst>
        <a:defRPr sz="1800" b="1" i="0" kern="1200">
          <a:solidFill>
            <a:schemeClr val="accent1"/>
          </a:solidFill>
          <a:latin typeface="+mn-lt"/>
          <a:ea typeface="Corbel" charset="0"/>
          <a:cs typeface="Corbel" charset="0"/>
        </a:defRPr>
      </a:lvl2pPr>
      <a:lvl3pPr marL="228600" indent="-227013" algn="l" defTabSz="292608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Font typeface="Arial" panose="020B0604020202020204" pitchFamily="34" charset="0"/>
        <a:buChar char="•"/>
        <a:tabLst>
          <a:tab pos="276225" algn="l"/>
          <a:tab pos="584200" algn="l"/>
        </a:tabLst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3pPr>
      <a:lvl4pPr marL="457200" marR="0" indent="-228600" algn="l" defTabSz="292608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>
          <a:tab pos="292608" algn="l"/>
          <a:tab pos="585216" algn="l"/>
        </a:tabLst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4pPr>
      <a:lvl5pPr marL="685800" indent="-228600" algn="l" defTabSz="292608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>
          <a:tab pos="292608" algn="l"/>
          <a:tab pos="585216" algn="l"/>
        </a:tabLst>
        <a:defRPr sz="1600" b="0" kern="1200">
          <a:solidFill>
            <a:schemeClr val="tx2"/>
          </a:solidFill>
          <a:latin typeface="+mn-lt"/>
          <a:ea typeface="Corbel" charset="0"/>
          <a:cs typeface="Corbel" charset="0"/>
        </a:defRPr>
      </a:lvl5pPr>
      <a:lvl6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/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6pPr>
      <a:lvl7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/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7pPr>
      <a:lvl8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/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8pPr>
      <a:lvl9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SzPct val="80000"/>
        <a:buFont typeface="Arial Unicode MS" panose="020B0604020202020204" pitchFamily="34" charset="-128"/>
        <a:buChar char="￮"/>
        <a:tabLst/>
        <a:defRPr sz="1600" b="0" i="0" kern="1200">
          <a:solidFill>
            <a:schemeClr val="tx2"/>
          </a:solidFill>
          <a:latin typeface="+mn-lt"/>
          <a:ea typeface="Corbel" charset="0"/>
          <a:cs typeface="Corbe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2075">
          <p15:clr>
            <a:srgbClr val="F26B43"/>
          </p15:clr>
        </p15:guide>
        <p15:guide id="3" pos="288">
          <p15:clr>
            <a:srgbClr val="F26B43"/>
          </p15:clr>
        </p15:guide>
        <p15:guide id="8" pos="1899">
          <p15:clr>
            <a:srgbClr val="F26B43"/>
          </p15:clr>
        </p15:guide>
        <p15:guide id="9" pos="2789">
          <p15:clr>
            <a:srgbClr val="F26B43"/>
          </p15:clr>
        </p15:guide>
        <p15:guide id="10" pos="2880">
          <p15:clr>
            <a:srgbClr val="F26B43"/>
          </p15:clr>
        </p15:guide>
        <p15:guide id="12" pos="2974">
          <p15:clr>
            <a:srgbClr val="F26B43"/>
          </p15:clr>
        </p15:guide>
        <p15:guide id="13" pos="5472">
          <p15:clr>
            <a:srgbClr val="F26B43"/>
          </p15:clr>
        </p15:guide>
        <p15:guide id="15" pos="3685">
          <p15:clr>
            <a:srgbClr val="F26B43"/>
          </p15:clr>
        </p15:guide>
        <p15:guide id="16" pos="3861">
          <p15:clr>
            <a:srgbClr val="F26B43"/>
          </p15:clr>
        </p15:guide>
        <p15:guide id="23" orient="horz" pos="4148">
          <p15:clr>
            <a:srgbClr val="F26B43"/>
          </p15:clr>
        </p15:guide>
        <p15:guide id="24" orient="horz" pos="3944">
          <p15:clr>
            <a:srgbClr val="F26B43"/>
          </p15:clr>
        </p15:guide>
        <p15:guide id="25" orient="horz" pos="216">
          <p15:clr>
            <a:srgbClr val="F26B43"/>
          </p15:clr>
        </p15:guide>
        <p15:guide id="26" orient="horz" pos="998">
          <p15:clr>
            <a:srgbClr val="F26B43"/>
          </p15:clr>
        </p15:guide>
        <p15:guide id="27" orient="horz" pos="672">
          <p15:clr>
            <a:srgbClr val="F26B43"/>
          </p15:clr>
        </p15:guide>
        <p15:guide id="31" orient="horz" pos="835">
          <p15:clr>
            <a:srgbClr val="F26B43"/>
          </p15:clr>
        </p15:guide>
        <p15:guide id="32" orient="horz" pos="402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68.xml"/><Relationship Id="rId5" Type="http://schemas.openxmlformats.org/officeDocument/2006/relationships/image" Target="../media/image34.png"/><Relationship Id="rId4" Type="http://schemas.openxmlformats.org/officeDocument/2006/relationships/image" Target="../media/image33.jp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18" Type="http://schemas.openxmlformats.org/officeDocument/2006/relationships/image" Target="../media/image51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17" Type="http://schemas.openxmlformats.org/officeDocument/2006/relationships/image" Target="../media/image50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49.png"/><Relationship Id="rId1" Type="http://schemas.openxmlformats.org/officeDocument/2006/relationships/slideLayout" Target="../slideLayouts/slideLayout90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38.png"/><Relationship Id="rId15" Type="http://schemas.openxmlformats.org/officeDocument/2006/relationships/image" Target="../media/image48.png"/><Relationship Id="rId10" Type="http://schemas.openxmlformats.org/officeDocument/2006/relationships/image" Target="../media/image43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Relationship Id="rId14" Type="http://schemas.openxmlformats.org/officeDocument/2006/relationships/image" Target="../media/image47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3.png"/><Relationship Id="rId18" Type="http://schemas.openxmlformats.org/officeDocument/2006/relationships/image" Target="../media/image68.png"/><Relationship Id="rId26" Type="http://schemas.openxmlformats.org/officeDocument/2006/relationships/image" Target="../media/image76.png"/><Relationship Id="rId39" Type="http://schemas.openxmlformats.org/officeDocument/2006/relationships/image" Target="../media/image89.png"/><Relationship Id="rId21" Type="http://schemas.openxmlformats.org/officeDocument/2006/relationships/image" Target="../media/image71.png"/><Relationship Id="rId34" Type="http://schemas.openxmlformats.org/officeDocument/2006/relationships/image" Target="../media/image84.png"/><Relationship Id="rId42" Type="http://schemas.openxmlformats.org/officeDocument/2006/relationships/image" Target="../media/image92.png"/><Relationship Id="rId7" Type="http://schemas.openxmlformats.org/officeDocument/2006/relationships/image" Target="../media/image57.png"/><Relationship Id="rId2" Type="http://schemas.openxmlformats.org/officeDocument/2006/relationships/image" Target="../media/image52.png"/><Relationship Id="rId16" Type="http://schemas.openxmlformats.org/officeDocument/2006/relationships/image" Target="../media/image66.png"/><Relationship Id="rId20" Type="http://schemas.openxmlformats.org/officeDocument/2006/relationships/image" Target="../media/image70.png"/><Relationship Id="rId29" Type="http://schemas.openxmlformats.org/officeDocument/2006/relationships/image" Target="../media/image79.png"/><Relationship Id="rId41" Type="http://schemas.openxmlformats.org/officeDocument/2006/relationships/image" Target="../media/image91.png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56.png"/><Relationship Id="rId11" Type="http://schemas.openxmlformats.org/officeDocument/2006/relationships/image" Target="../media/image61.png"/><Relationship Id="rId24" Type="http://schemas.openxmlformats.org/officeDocument/2006/relationships/image" Target="../media/image74.png"/><Relationship Id="rId32" Type="http://schemas.openxmlformats.org/officeDocument/2006/relationships/image" Target="../media/image82.png"/><Relationship Id="rId37" Type="http://schemas.openxmlformats.org/officeDocument/2006/relationships/image" Target="../media/image87.png"/><Relationship Id="rId40" Type="http://schemas.openxmlformats.org/officeDocument/2006/relationships/image" Target="../media/image90.png"/><Relationship Id="rId5" Type="http://schemas.openxmlformats.org/officeDocument/2006/relationships/image" Target="../media/image55.png"/><Relationship Id="rId15" Type="http://schemas.openxmlformats.org/officeDocument/2006/relationships/image" Target="../media/image65.png"/><Relationship Id="rId23" Type="http://schemas.openxmlformats.org/officeDocument/2006/relationships/image" Target="../media/image73.png"/><Relationship Id="rId28" Type="http://schemas.openxmlformats.org/officeDocument/2006/relationships/image" Target="../media/image78.png"/><Relationship Id="rId36" Type="http://schemas.openxmlformats.org/officeDocument/2006/relationships/image" Target="../media/image86.png"/><Relationship Id="rId10" Type="http://schemas.openxmlformats.org/officeDocument/2006/relationships/image" Target="../media/image60.png"/><Relationship Id="rId19" Type="http://schemas.openxmlformats.org/officeDocument/2006/relationships/image" Target="../media/image69.png"/><Relationship Id="rId31" Type="http://schemas.openxmlformats.org/officeDocument/2006/relationships/image" Target="../media/image81.png"/><Relationship Id="rId4" Type="http://schemas.openxmlformats.org/officeDocument/2006/relationships/image" Target="../media/image54.png"/><Relationship Id="rId9" Type="http://schemas.openxmlformats.org/officeDocument/2006/relationships/image" Target="../media/image59.png"/><Relationship Id="rId14" Type="http://schemas.openxmlformats.org/officeDocument/2006/relationships/image" Target="../media/image64.png"/><Relationship Id="rId22" Type="http://schemas.openxmlformats.org/officeDocument/2006/relationships/image" Target="../media/image72.png"/><Relationship Id="rId27" Type="http://schemas.openxmlformats.org/officeDocument/2006/relationships/image" Target="../media/image77.png"/><Relationship Id="rId30" Type="http://schemas.openxmlformats.org/officeDocument/2006/relationships/image" Target="../media/image80.png"/><Relationship Id="rId35" Type="http://schemas.openxmlformats.org/officeDocument/2006/relationships/image" Target="../media/image85.png"/><Relationship Id="rId43" Type="http://schemas.openxmlformats.org/officeDocument/2006/relationships/image" Target="../media/image93.jpeg"/><Relationship Id="rId8" Type="http://schemas.openxmlformats.org/officeDocument/2006/relationships/image" Target="../media/image58.png"/><Relationship Id="rId3" Type="http://schemas.openxmlformats.org/officeDocument/2006/relationships/image" Target="../media/image53.png"/><Relationship Id="rId12" Type="http://schemas.openxmlformats.org/officeDocument/2006/relationships/image" Target="../media/image62.png"/><Relationship Id="rId17" Type="http://schemas.openxmlformats.org/officeDocument/2006/relationships/image" Target="../media/image67.png"/><Relationship Id="rId25" Type="http://schemas.openxmlformats.org/officeDocument/2006/relationships/image" Target="../media/image75.png"/><Relationship Id="rId33" Type="http://schemas.openxmlformats.org/officeDocument/2006/relationships/image" Target="../media/image83.png"/><Relationship Id="rId38" Type="http://schemas.openxmlformats.org/officeDocument/2006/relationships/image" Target="../media/image8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jpg"/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98.jpeg"/><Relationship Id="rId5" Type="http://schemas.openxmlformats.org/officeDocument/2006/relationships/image" Target="../media/image97.jpeg"/><Relationship Id="rId4" Type="http://schemas.openxmlformats.org/officeDocument/2006/relationships/image" Target="../media/image96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22A874-B2DD-BB45-A068-CDA3E57AA7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C Faculty Counci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700175B-8A0D-B84D-8B0A-7312D0B273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February 19, 2021</a:t>
            </a:r>
          </a:p>
        </p:txBody>
      </p:sp>
    </p:spTree>
    <p:extLst>
      <p:ext uri="{BB962C8B-B14F-4D97-AF65-F5344CB8AC3E}">
        <p14:creationId xmlns:p14="http://schemas.microsoft.com/office/powerpoint/2010/main" val="28156064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2</a:t>
            </a:fld>
            <a:endParaRPr lang="en-US" dirty="0"/>
          </a:p>
        </p:txBody>
      </p:sp>
      <p:sp>
        <p:nvSpPr>
          <p:cNvPr id="9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 serve North Carolina. Every day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1117" y="1415276"/>
            <a:ext cx="10059141" cy="4996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0409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C586698D-FCC4-C64E-81BD-84EFE346CB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502" y="524071"/>
            <a:ext cx="10615892" cy="595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6355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71A455FC-B307-BA4E-AD61-BF31AB6BF8C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2266" y="3992521"/>
            <a:ext cx="4007555" cy="21588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855" y="3592720"/>
            <a:ext cx="5259433" cy="29584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6" t="9712" r="2540" b="9136"/>
          <a:stretch/>
        </p:blipFill>
        <p:spPr>
          <a:xfrm>
            <a:off x="8444088" y="228158"/>
            <a:ext cx="3431823" cy="43945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72787" y="228158"/>
            <a:ext cx="6062443" cy="31106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7985117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9615" y="399345"/>
            <a:ext cx="11081808" cy="6017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3138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609600" y="6130034"/>
            <a:ext cx="424392" cy="208758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BD39B7-684D-4423-8BB6-5C8BA622930A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4163"/>
                </a:solidFill>
                <a:effectLst/>
                <a:uLnTx/>
                <a:uFillTx/>
                <a:latin typeface="Arial" panose="020B0604020202020204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4163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>
          <a:xfrm>
            <a:off x="1033993" y="6130034"/>
            <a:ext cx="1070187" cy="208758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416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/26/2021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416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95677" y="3764692"/>
            <a:ext cx="1472371" cy="2059328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58530" y="2693580"/>
            <a:ext cx="1448745" cy="566967"/>
          </a:xfrm>
          <a:prstGeom prst="rect">
            <a:avLst/>
          </a:prstGeom>
          <a:noFill/>
        </p:spPr>
        <p:txBody>
          <a:bodyPr wrap="square" lIns="0" tIns="73152" rIns="0" bIns="0" rtlCol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nevieve  Neal-Perry, MD, Ph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ir OB/GYN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700949" y="5900456"/>
            <a:ext cx="1475467" cy="510245"/>
          </a:xfrm>
          <a:prstGeom prst="rect">
            <a:avLst/>
          </a:prstGeom>
          <a:noFill/>
        </p:spPr>
        <p:txBody>
          <a:bodyPr wrap="square" lIns="0" tIns="73152" rIns="0" bIns="0" rtlCol="0">
            <a:normAutofit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ctor Reiss, MB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P, Consumerism &amp; Insights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645274" y="2710008"/>
            <a:ext cx="1423895" cy="678060"/>
          </a:xfrm>
          <a:prstGeom prst="rect">
            <a:avLst/>
          </a:prstGeom>
          <a:noFill/>
        </p:spPr>
        <p:txBody>
          <a:bodyPr wrap="square" lIns="0" tIns="73152" rIns="0" bIns="0" rtlCol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inton Hazziez, MB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P, Supply Chain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138492" y="2768123"/>
            <a:ext cx="1426673" cy="371842"/>
          </a:xfrm>
          <a:prstGeom prst="rect">
            <a:avLst/>
          </a:prstGeom>
          <a:noFill/>
        </p:spPr>
        <p:txBody>
          <a:bodyPr wrap="square" lIns="0" tIns="73152" rIns="0" bIns="0" rtlCol="0">
            <a:normAutofit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te Thomas, Ph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ce Dean, DEI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758305" y="2757387"/>
            <a:ext cx="1426673" cy="682089"/>
          </a:xfrm>
          <a:prstGeom prst="rect">
            <a:avLst/>
          </a:prstGeom>
          <a:noFill/>
        </p:spPr>
        <p:txBody>
          <a:bodyPr wrap="square" lIns="0" tIns="73152" rIns="0" bIns="0" rtlCol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ystal Cene, M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ec Dir, Health Equity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8530" y="5854620"/>
            <a:ext cx="1520387" cy="450099"/>
          </a:xfrm>
          <a:prstGeom prst="rect">
            <a:avLst/>
          </a:prstGeom>
          <a:noFill/>
        </p:spPr>
        <p:txBody>
          <a:bodyPr wrap="square" lIns="0" tIns="73152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eyah Pryor-Pankey, MSH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ec Dir, DEI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9248521" y="2769397"/>
            <a:ext cx="1426673" cy="371842"/>
          </a:xfrm>
          <a:prstGeom prst="rect">
            <a:avLst/>
          </a:prstGeom>
          <a:noFill/>
        </p:spPr>
        <p:txBody>
          <a:bodyPr wrap="square" lIns="0" tIns="73152" rIns="0" bIns="0" rtlCol="0">
            <a:normAutofit fontScale="92500"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nya Brown, MB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P, Operational Finance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5879" y="3764692"/>
            <a:ext cx="1478252" cy="2062871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58508" y="3764692"/>
            <a:ext cx="1498837" cy="2089928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30196" y="3768234"/>
            <a:ext cx="1582955" cy="2055786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97124" y="3767408"/>
            <a:ext cx="1525567" cy="2086124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423" y="3764692"/>
            <a:ext cx="1487513" cy="2062871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80599" y="3764692"/>
            <a:ext cx="1312807" cy="208992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180046" y="3768496"/>
            <a:ext cx="1385119" cy="2086124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6811" y="593566"/>
            <a:ext cx="1410464" cy="2086485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216536" y="607741"/>
            <a:ext cx="1336048" cy="212195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655571" y="587041"/>
            <a:ext cx="1423895" cy="213389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590834" y="579529"/>
            <a:ext cx="1499862" cy="213488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160088" y="593566"/>
            <a:ext cx="1407727" cy="216382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707469" y="607741"/>
            <a:ext cx="1433898" cy="212654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691543" y="614368"/>
            <a:ext cx="1359178" cy="213648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221989" y="600042"/>
            <a:ext cx="1372653" cy="2141943"/>
          </a:xfrm>
          <a:prstGeom prst="rect">
            <a:avLst/>
          </a:prstGeom>
        </p:spPr>
      </p:pic>
      <p:sp>
        <p:nvSpPr>
          <p:cNvPr id="43" name="TextBox 42"/>
          <p:cNvSpPr txBox="1"/>
          <p:nvPr/>
        </p:nvSpPr>
        <p:spPr>
          <a:xfrm>
            <a:off x="1563245" y="2693580"/>
            <a:ext cx="1499863" cy="678060"/>
          </a:xfrm>
          <a:prstGeom prst="rect">
            <a:avLst/>
          </a:prstGeom>
          <a:noFill/>
        </p:spPr>
        <p:txBody>
          <a:bodyPr wrap="square" lIns="0" tIns="73152" rIns="0" bIns="0" rtlCol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yant Murphy, M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r</a:t>
            </a: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ssoc Dean, Leadership Development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032143" y="2740603"/>
            <a:ext cx="1595963" cy="678060"/>
          </a:xfrm>
          <a:prstGeom prst="rect">
            <a:avLst/>
          </a:prstGeom>
          <a:noFill/>
        </p:spPr>
        <p:txBody>
          <a:bodyPr wrap="square" lIns="0" tIns="73152" rIns="0" bIns="0" rtlCol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nya  McNeal-Trice, M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ief Graduate Medical Education Officer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0719123" y="2750854"/>
            <a:ext cx="1383696" cy="471019"/>
          </a:xfrm>
          <a:prstGeom prst="rect">
            <a:avLst/>
          </a:prstGeom>
          <a:noFill/>
        </p:spPr>
        <p:txBody>
          <a:bodyPr wrap="square" lIns="0" tIns="73152" rIns="0" bIns="0" rtlCol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essie Tucker, Ph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O, Wayne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579196" y="5872668"/>
            <a:ext cx="1499863" cy="535266"/>
          </a:xfrm>
          <a:prstGeom prst="rect">
            <a:avLst/>
          </a:prstGeom>
          <a:noFill/>
        </p:spPr>
        <p:txBody>
          <a:bodyPr wrap="square" lIns="0" tIns="73152" rIns="0" bIns="0" rtlCol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hakira Henderson, Ph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P, Research Officer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3090696" y="5861981"/>
            <a:ext cx="1510296" cy="678060"/>
          </a:xfrm>
          <a:prstGeom prst="rect">
            <a:avLst/>
          </a:prstGeom>
          <a:noFill/>
        </p:spPr>
        <p:txBody>
          <a:bodyPr wrap="square" lIns="0" tIns="73152" rIns="0" bIns="0" rtlCol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lson Oyesiku, MD, Ph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ir Neurosurgery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665173" y="5849703"/>
            <a:ext cx="1499863" cy="678060"/>
          </a:xfrm>
          <a:prstGeom prst="rect">
            <a:avLst/>
          </a:prstGeom>
          <a:noFill/>
        </p:spPr>
        <p:txBody>
          <a:bodyPr wrap="square" lIns="0" tIns="73152" rIns="0" bIns="0" rtlCol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lina Matthews, MBA Assoc Dean, Administration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138492" y="5876604"/>
            <a:ext cx="1499863" cy="678060"/>
          </a:xfrm>
          <a:prstGeom prst="rect">
            <a:avLst/>
          </a:prstGeom>
          <a:noFill/>
        </p:spPr>
        <p:txBody>
          <a:bodyPr wrap="square" lIns="0" tIns="73152" rIns="0" bIns="0" rtlCol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im Nichols, M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soc Dean, DEI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7638355" y="5896462"/>
            <a:ext cx="1499863" cy="550428"/>
          </a:xfrm>
          <a:prstGeom prst="rect">
            <a:avLst/>
          </a:prstGeom>
          <a:noFill/>
        </p:spPr>
        <p:txBody>
          <a:bodyPr wrap="square" lIns="0" tIns="73152" rIns="0" bIns="0" rtlCol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chele </a:t>
            </a:r>
            <a:r>
              <a:rPr kumimoji="0" lang="en-US" sz="105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umes</a:t>
            </a: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MB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P, Strategy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9248521" y="5869854"/>
            <a:ext cx="1499863" cy="678060"/>
          </a:xfrm>
          <a:prstGeom prst="rect">
            <a:avLst/>
          </a:prstGeom>
          <a:noFill/>
        </p:spPr>
        <p:txBody>
          <a:bodyPr wrap="square" lIns="0" tIns="73152" rIns="0" bIns="0" rtlCol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aig Cameron, Ph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ir, Microbiology &amp; Immunology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1386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9087" y="326480"/>
            <a:ext cx="893686" cy="13004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412" y="150015"/>
            <a:ext cx="1190441" cy="13004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02501" y="126557"/>
            <a:ext cx="1071185" cy="13004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78547" y="126556"/>
            <a:ext cx="979853" cy="12875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5195" y="1545565"/>
            <a:ext cx="1126778" cy="12875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02520" y="474924"/>
            <a:ext cx="1038817" cy="12875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37696" y="474925"/>
            <a:ext cx="1057321" cy="12875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203769" y="126555"/>
            <a:ext cx="988139" cy="13138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30381" y="1527420"/>
            <a:ext cx="1086010" cy="12786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288231" y="1490042"/>
            <a:ext cx="926975" cy="13233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812607" y="1857164"/>
            <a:ext cx="863243" cy="12864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50480" y="2990617"/>
            <a:ext cx="1270020" cy="10902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864919" y="3466668"/>
            <a:ext cx="862211" cy="11413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034624" y="335051"/>
            <a:ext cx="892920" cy="11153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313962" y="2940312"/>
            <a:ext cx="875511" cy="12388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436136" y="2006369"/>
            <a:ext cx="1142033" cy="11963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935009" y="2936231"/>
            <a:ext cx="838527" cy="11519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172051" y="150015"/>
            <a:ext cx="1240613" cy="10919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305256" y="4320621"/>
            <a:ext cx="1042450" cy="10181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0271015" y="5356613"/>
            <a:ext cx="910913" cy="13168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526557" y="3495577"/>
            <a:ext cx="1033183" cy="11705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6651059" y="4975050"/>
            <a:ext cx="919490" cy="10878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691336" y="4204413"/>
            <a:ext cx="950637" cy="11051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2916212" y="4218379"/>
            <a:ext cx="808313" cy="11195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4138110" y="4839742"/>
            <a:ext cx="955253" cy="12100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7649010" y="2853849"/>
            <a:ext cx="915159" cy="12131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28"/>
          <a:srcRect b="12020"/>
          <a:stretch/>
        </p:blipFill>
        <p:spPr>
          <a:xfrm>
            <a:off x="5354887" y="5516000"/>
            <a:ext cx="834586" cy="11320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7845462" y="4160412"/>
            <a:ext cx="873238" cy="11931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0210129" y="1620798"/>
            <a:ext cx="1054174" cy="9837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9051168" y="4392137"/>
            <a:ext cx="937322" cy="9457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8912512" y="1698636"/>
            <a:ext cx="1075978" cy="12375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7778547" y="1563106"/>
            <a:ext cx="933587" cy="11905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8905141" y="3126906"/>
            <a:ext cx="1090720" cy="11232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1767592" y="4860315"/>
            <a:ext cx="919874" cy="12490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10244896" y="2783134"/>
            <a:ext cx="927781" cy="11191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10244896" y="4080844"/>
            <a:ext cx="963153" cy="10976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4061113" y="3444953"/>
            <a:ext cx="965646" cy="11847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9113130" y="5444771"/>
            <a:ext cx="919011" cy="10480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7873287" y="5463456"/>
            <a:ext cx="937105" cy="12163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731769" y="5463456"/>
            <a:ext cx="875905" cy="10907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3965446" y="1950998"/>
            <a:ext cx="1179183" cy="11759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5" name="Picture 4">
            <a:extLst>
              <a:ext uri="{FF2B5EF4-FFF2-40B4-BE49-F238E27FC236}">
                <a16:creationId xmlns:a16="http://schemas.microsoft.com/office/drawing/2014/main" id="{E389C31F-97F1-D94C-A43E-17751A9B24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39" t="11947" r="38348" b="42695"/>
          <a:stretch/>
        </p:blipFill>
        <p:spPr bwMode="auto">
          <a:xfrm>
            <a:off x="2810940" y="5521148"/>
            <a:ext cx="1190401" cy="11269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07917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63DCA5C9-2E11-4C67-86EB-AE1DE127DC64}" type="slidenum">
              <a:rPr lang="en-US" smtClean="0"/>
              <a:pPr lvl="8"/>
              <a:t>8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XX.XX.XXXX</a:t>
            </a:r>
          </a:p>
        </p:txBody>
      </p:sp>
      <p:pic>
        <p:nvPicPr>
          <p:cNvPr id="5130" name="Picture 10" descr="Image result for picture of UNC Health">
            <a:extLst>
              <a:ext uri="{FF2B5EF4-FFF2-40B4-BE49-F238E27FC236}">
                <a16:creationId xmlns:a16="http://schemas.microsoft.com/office/drawing/2014/main" id="{1256DDAD-B1CE-BA4F-9E01-23CA0AE1CA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543" y="3585082"/>
            <a:ext cx="4460743" cy="29666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59" r="3958" b="8634"/>
          <a:stretch/>
        </p:blipFill>
        <p:spPr>
          <a:xfrm>
            <a:off x="632543" y="299936"/>
            <a:ext cx="4651024" cy="29414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4" descr="Image result for unc medical center community thank you">
            <a:extLst>
              <a:ext uri="{FF2B5EF4-FFF2-40B4-BE49-F238E27FC236}">
                <a16:creationId xmlns:a16="http://schemas.microsoft.com/office/drawing/2014/main" id="{201A85E3-B57C-1644-905D-2EA0E6C658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7" b="13989"/>
          <a:stretch/>
        </p:blipFill>
        <p:spPr bwMode="auto">
          <a:xfrm>
            <a:off x="6208714" y="3585080"/>
            <a:ext cx="5274068" cy="29666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A researcher holds a pipette in a lab."/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8714" y="299936"/>
            <a:ext cx="5229299" cy="29414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Image result for picture of UNC Health">
            <a:extLst>
              <a:ext uri="{FF2B5EF4-FFF2-40B4-BE49-F238E27FC236}">
                <a16:creationId xmlns:a16="http://schemas.microsoft.com/office/drawing/2014/main" id="{5EB5BBAC-646C-C44E-A603-E4326BFC52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8396" y="2559628"/>
            <a:ext cx="3065208" cy="2050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62580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438261-596B-A74E-9172-8B0CECFBB3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6247970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3yQyBilL1IvWKiwCP7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aN3ntLMkSQRjmvQ1od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NAFWGXhEq0x_KaDI5o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LgGoLAXoSsqCxi9SFWeQ"/>
</p:tagLst>
</file>

<file path=ppt/theme/theme1.xml><?xml version="1.0" encoding="utf-8"?>
<a:theme xmlns:a="http://schemas.openxmlformats.org/drawingml/2006/main" name="Office Theme">
  <a:themeElements>
    <a:clrScheme name="UNCH 1">
      <a:dk1>
        <a:srgbClr val="000000"/>
      </a:dk1>
      <a:lt1>
        <a:srgbClr val="FFFFFF"/>
      </a:lt1>
      <a:dk2>
        <a:srgbClr val="515151"/>
      </a:dk2>
      <a:lt2>
        <a:srgbClr val="FFFFFF"/>
      </a:lt2>
      <a:accent1>
        <a:srgbClr val="004163"/>
      </a:accent1>
      <a:accent2>
        <a:srgbClr val="4B9CD3"/>
      </a:accent2>
      <a:accent3>
        <a:srgbClr val="CFF000"/>
      </a:accent3>
      <a:accent4>
        <a:srgbClr val="F52CA8"/>
      </a:accent4>
      <a:accent5>
        <a:srgbClr val="89E8A2"/>
      </a:accent5>
      <a:accent6>
        <a:srgbClr val="5FD7ED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>
            <a:solidFill>
              <a:schemeClr val="bg1"/>
            </a:solidFill>
          </a:defRPr>
        </a:defPPr>
      </a:lstStyle>
    </a:spDef>
    <a:txDef>
      <a:spPr>
        <a:noFill/>
      </a:spPr>
      <a:bodyPr wrap="square" lIns="0" tIns="73152" rIns="0" bIns="0" rtlCol="0">
        <a:normAutofit/>
      </a:bodyPr>
      <a:lstStyle>
        <a:defPPr algn="l">
          <a:defRPr sz="16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nch_ppt_16x9_200429" id="{E1065C6E-8BE6-1446-8DF7-135AD08CD9BA}" vid="{B984B1A8-ECDB-FE44-863D-472AEB6075D5}"/>
    </a:ext>
  </a:extLst>
</a:theme>
</file>

<file path=ppt/theme/theme2.xml><?xml version="1.0" encoding="utf-8"?>
<a:theme xmlns:a="http://schemas.openxmlformats.org/drawingml/2006/main" name="2_Custom Design">
  <a:themeElements>
    <a:clrScheme name="Deloitte US Color1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Custom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b="0" i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D29C846F-52D6-4BF8-B47A-698C3C53FC80}" vid="{A6F64004-40D3-4930-9BD7-8F2EA8936776}"/>
    </a:ext>
  </a:extLst>
</a:theme>
</file>

<file path=ppt/theme/theme3.xml><?xml version="1.0" encoding="utf-8"?>
<a:theme xmlns:a="http://schemas.openxmlformats.org/drawingml/2006/main" name="UNC-template_Blank">
  <a:themeElements>
    <a:clrScheme name="UNC Healthcare">
      <a:dk1>
        <a:srgbClr val="000000"/>
      </a:dk1>
      <a:lt1>
        <a:srgbClr val="FFFFFF"/>
      </a:lt1>
      <a:dk2>
        <a:srgbClr val="003366"/>
      </a:dk2>
      <a:lt2>
        <a:srgbClr val="FFFFFF"/>
      </a:lt2>
      <a:accent1>
        <a:srgbClr val="364D6E"/>
      </a:accent1>
      <a:accent2>
        <a:srgbClr val="6F8DB9"/>
      </a:accent2>
      <a:accent3>
        <a:srgbClr val="9DB1CF"/>
      </a:accent3>
      <a:accent4>
        <a:srgbClr val="C3CFE1"/>
      </a:accent4>
      <a:accent5>
        <a:srgbClr val="DFE5EF"/>
      </a:accent5>
      <a:accent6>
        <a:srgbClr val="FFFF66"/>
      </a:accent6>
      <a:hlink>
        <a:srgbClr val="99CCFF"/>
      </a:hlink>
      <a:folHlink>
        <a:srgbClr val="B2B2B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rgbClr val="004568"/>
          </a:solidFill>
        </a:ln>
      </a:spPr>
      <a:bodyPr rtlCol="0" anchor="t"/>
      <a:lstStyle>
        <a:defPPr algn="ctr">
          <a:lnSpc>
            <a:spcPct val="110000"/>
          </a:lnSpc>
          <a:spcBef>
            <a:spcPts val="100"/>
          </a:spcBef>
          <a:spcAft>
            <a:spcPts val="100"/>
          </a:spcAft>
          <a:defRPr sz="1400" b="1" cap="all" spc="100" dirty="0" smtClean="0">
            <a:solidFill>
              <a:srgbClr val="33669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UNC-template 1">
        <a:dk1>
          <a:srgbClr val="000000"/>
        </a:dk1>
        <a:lt1>
          <a:srgbClr val="FFFFFF"/>
        </a:lt1>
        <a:dk2>
          <a:srgbClr val="B2B2B2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C-template 2">
        <a:dk1>
          <a:srgbClr val="000000"/>
        </a:dk1>
        <a:lt1>
          <a:srgbClr val="FFFFFF"/>
        </a:lt1>
        <a:dk2>
          <a:srgbClr val="99CCFF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C-template 3">
        <a:dk1>
          <a:srgbClr val="000000"/>
        </a:dk1>
        <a:lt1>
          <a:srgbClr val="FFFFFF"/>
        </a:lt1>
        <a:dk2>
          <a:srgbClr val="003366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Office Theme">
  <a:themeElements>
    <a:clrScheme name="UNCH 1">
      <a:dk1>
        <a:srgbClr val="000000"/>
      </a:dk1>
      <a:lt1>
        <a:srgbClr val="FFFFFF"/>
      </a:lt1>
      <a:dk2>
        <a:srgbClr val="515151"/>
      </a:dk2>
      <a:lt2>
        <a:srgbClr val="FFFFFF"/>
      </a:lt2>
      <a:accent1>
        <a:srgbClr val="004163"/>
      </a:accent1>
      <a:accent2>
        <a:srgbClr val="4B9CD3"/>
      </a:accent2>
      <a:accent3>
        <a:srgbClr val="CFF000"/>
      </a:accent3>
      <a:accent4>
        <a:srgbClr val="F52CA8"/>
      </a:accent4>
      <a:accent5>
        <a:srgbClr val="89E8A2"/>
      </a:accent5>
      <a:accent6>
        <a:srgbClr val="5FD7ED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>
            <a:solidFill>
              <a:schemeClr val="bg1"/>
            </a:solidFill>
          </a:defRPr>
        </a:defPPr>
      </a:lstStyle>
    </a:spDef>
    <a:txDef>
      <a:spPr>
        <a:noFill/>
      </a:spPr>
      <a:bodyPr wrap="square" lIns="0" tIns="73152" rIns="0" bIns="0" rtlCol="0">
        <a:normAutofit/>
      </a:bodyPr>
      <a:lstStyle>
        <a:defPPr algn="l">
          <a:defRPr sz="16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nch_ppt_16x9_200429" id="{E1065C6E-8BE6-1446-8DF7-135AD08CD9BA}" vid="{B984B1A8-ECDB-FE44-863D-472AEB6075D5}"/>
    </a:ext>
  </a:extLst>
</a:theme>
</file>

<file path=ppt/theme/theme5.xml><?xml version="1.0" encoding="utf-8"?>
<a:theme xmlns:a="http://schemas.openxmlformats.org/drawingml/2006/main" name="UNC Health template">
  <a:themeElements>
    <a:clrScheme name="UNCH 1">
      <a:dk1>
        <a:srgbClr val="000000"/>
      </a:dk1>
      <a:lt1>
        <a:srgbClr val="FFFFFF"/>
      </a:lt1>
      <a:dk2>
        <a:srgbClr val="515151"/>
      </a:dk2>
      <a:lt2>
        <a:srgbClr val="FFFFFF"/>
      </a:lt2>
      <a:accent1>
        <a:srgbClr val="004163"/>
      </a:accent1>
      <a:accent2>
        <a:srgbClr val="4B9CD3"/>
      </a:accent2>
      <a:accent3>
        <a:srgbClr val="CFF000"/>
      </a:accent3>
      <a:accent4>
        <a:srgbClr val="F52CA8"/>
      </a:accent4>
      <a:accent5>
        <a:srgbClr val="89E8A2"/>
      </a:accent5>
      <a:accent6>
        <a:srgbClr val="5FD7ED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>
            <a:solidFill>
              <a:schemeClr val="bg1"/>
            </a:solidFill>
          </a:defRPr>
        </a:defPPr>
      </a:lstStyle>
    </a:spDef>
    <a:txDef>
      <a:spPr>
        <a:noFill/>
      </a:spPr>
      <a:bodyPr wrap="square" lIns="0" tIns="73152" rIns="0" bIns="0" rtlCol="0">
        <a:normAutofit/>
      </a:bodyPr>
      <a:lstStyle>
        <a:defPPr algn="l">
          <a:defRPr sz="16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NC Health template" id="{20BA0F64-365B-4AEC-B846-76179AC65DDE}" vid="{78844352-9A64-4873-BA36-7089CACD26E6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A57748F7B623445B3F59DE97D39AF9E" ma:contentTypeVersion="12" ma:contentTypeDescription="Create a new document." ma:contentTypeScope="" ma:versionID="e0d41c59f971d85e9e0863187f49264e">
  <xsd:schema xmlns:xsd="http://www.w3.org/2001/XMLSchema" xmlns:xs="http://www.w3.org/2001/XMLSchema" xmlns:p="http://schemas.microsoft.com/office/2006/metadata/properties" xmlns:ns2="433301fd-6327-46b0-8f07-1dd56f79d9db" xmlns:ns3="686a8f2c-bfaf-4ad7-9398-9ae773d20429" targetNamespace="http://schemas.microsoft.com/office/2006/metadata/properties" ma:root="true" ma:fieldsID="64b73e73dd61229ac6697dca3a116f96" ns2:_="" ns3:_="">
    <xsd:import namespace="433301fd-6327-46b0-8f07-1dd56f79d9db"/>
    <xsd:import namespace="686a8f2c-bfaf-4ad7-9398-9ae773d2042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3301fd-6327-46b0-8f07-1dd56f79d9d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6a8f2c-bfaf-4ad7-9398-9ae773d2042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EF607C6-A57A-4B03-A83A-45F6327B7BA6}">
  <ds:schemaRefs>
    <ds:schemaRef ds:uri="http://purl.org/dc/terms/"/>
    <ds:schemaRef ds:uri="686a8f2c-bfaf-4ad7-9398-9ae773d20429"/>
    <ds:schemaRef ds:uri="http://purl.org/dc/elements/1.1/"/>
    <ds:schemaRef ds:uri="http://schemas.microsoft.com/office/2006/documentManagement/types"/>
    <ds:schemaRef ds:uri="433301fd-6327-46b0-8f07-1dd56f79d9db"/>
    <ds:schemaRef ds:uri="http://www.w3.org/XML/1998/namespace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DE75BAB9-1744-4C14-A005-2631823F792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33301fd-6327-46b0-8f07-1dd56f79d9db"/>
    <ds:schemaRef ds:uri="686a8f2c-bfaf-4ad7-9398-9ae773d2042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4EE1DD2-7369-4637-890C-945791B4623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nch_ppt_16x9_200429</Template>
  <TotalTime>6988</TotalTime>
  <Words>156</Words>
  <Application>Microsoft Office PowerPoint</Application>
  <PresentationFormat>Widescreen</PresentationFormat>
  <Paragraphs>42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2" baseType="lpstr">
      <vt:lpstr>Arial</vt:lpstr>
      <vt:lpstr>Arial Unicode MS</vt:lpstr>
      <vt:lpstr>Calibri</vt:lpstr>
      <vt:lpstr>Corbel</vt:lpstr>
      <vt:lpstr>Georgia</vt:lpstr>
      <vt:lpstr>System Font Regular</vt:lpstr>
      <vt:lpstr>Times New Roman</vt:lpstr>
      <vt:lpstr>Office Theme</vt:lpstr>
      <vt:lpstr>2_Custom Design</vt:lpstr>
      <vt:lpstr>UNC-template_Blank</vt:lpstr>
      <vt:lpstr>1_Office Theme</vt:lpstr>
      <vt:lpstr>UNC Health template</vt:lpstr>
      <vt:lpstr>think-cell Slide</vt:lpstr>
      <vt:lpstr>UNC Faculty Council</vt:lpstr>
      <vt:lpstr>We serve North Carolina. Every day.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Manager/>
  <Company>UNC Health Care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C Health</dc:title>
  <dc:subject/>
  <dc:creator>Armstrong, Amy</dc:creator>
  <cp:keywords/>
  <dc:description/>
  <cp:lastModifiedBy>Eimers, Katie</cp:lastModifiedBy>
  <cp:revision>194</cp:revision>
  <cp:lastPrinted>2021-02-10T13:30:29Z</cp:lastPrinted>
  <dcterms:created xsi:type="dcterms:W3CDTF">2020-05-04T13:11:46Z</dcterms:created>
  <dcterms:modified xsi:type="dcterms:W3CDTF">2021-02-19T14:34:1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A57748F7B623445B3F59DE97D39AF9E</vt:lpwstr>
  </property>
</Properties>
</file>